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ngesInfos/changesInfo1.xml" ContentType="application/vnd.ms-powerpoint.changesinfo+xml"/>
  <Override PartName="/ppt/drawings/vmlDrawing1.vml" ContentType="application/vnd.openxmlformats-officedocument.vmlDrawing"/>
  <Override PartName="/ppt/embeddings/oleObject1.bin" ContentType="application/vnd.openxmlformats-officedocument.oleObject"/>
  <Override PartName="/ppt/embeddings/oleObject2.bin" ContentType="application/vnd.openxmlformats-officedocument.oleObject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1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07" r:id="rId4"/>
  </p:sldMasterIdLst>
  <p:sldIdLst>
    <p:sldId id="1144" r:id="rId5"/>
    <p:sldId id="1145" r:id="rId6"/>
    <p:sldId id="1159" r:id="rId7"/>
    <p:sldId id="1155" r:id="rId8"/>
    <p:sldId id="1160" r:id="rId14"/>
    <p:sldId id="1161" r:id="rId15"/>
    <p:sldId id="1162" r:id="rId16"/>
    <p:sldId id="1163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25" autoAdjust="0"/>
    <p:restoredTop sz="94660"/>
  </p:normalViewPr>
  <p:slideViewPr>
    <p:cSldViewPr snapToGrid="0">
      <p:cViewPr varScale="1">
        <p:scale>
          <a:sx n="105" d="100"/>
          <a:sy n="105" d="100"/>
        </p:scale>
        <p:origin x="78" y="3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'1.0' encoding='UTF-8' standalone='yes'?>
<Relationships xmlns="http://schemas.openxmlformats.org/package/2006/relationships"><Relationship Id="rId8" Type="http://schemas.openxmlformats.org/officeDocument/2006/relationships/slide" Target="slides/slide4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openxmlformats.org/officeDocument/2006/relationships/slide" Target="slides/slide5.xml"/><Relationship Id="rId15" Type="http://schemas.openxmlformats.org/officeDocument/2006/relationships/slide" Target="slides/slide6.xml"/><Relationship Id="rId16" Type="http://schemas.openxmlformats.org/officeDocument/2006/relationships/slide" Target="slides/slide7.xml"/><Relationship Id="rId17" Type="http://schemas.openxmlformats.org/officeDocument/2006/relationships/slide" Target="slides/slide8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drew McCulloch" userId="2f2cb74d-2e0f-40b3-b9a8-c8d205a12428" providerId="ADAL" clId="{756C80A4-D2F5-4CC3-837D-F3E43547C81B}"/>
    <pc:docChg chg="modSld modMainMaster">
      <pc:chgData name="Andrew McCulloch" userId="2f2cb74d-2e0f-40b3-b9a8-c8d205a12428" providerId="ADAL" clId="{756C80A4-D2F5-4CC3-837D-F3E43547C81B}" dt="2020-02-20T04:37:14.446" v="19" actId="2696"/>
      <pc:docMkLst>
        <pc:docMk/>
      </pc:docMkLst>
      <pc:sldChg chg="delSp">
        <pc:chgData name="Andrew McCulloch" userId="2f2cb74d-2e0f-40b3-b9a8-c8d205a12428" providerId="ADAL" clId="{756C80A4-D2F5-4CC3-837D-F3E43547C81B}" dt="2020-02-20T03:36:23.342" v="0"/>
        <pc:sldMkLst>
          <pc:docMk/>
          <pc:sldMk cId="369591808" sldId="1159"/>
        </pc:sldMkLst>
        <pc:spChg chg="del">
          <ac:chgData name="Andrew McCulloch" userId="2f2cb74d-2e0f-40b3-b9a8-c8d205a12428" providerId="ADAL" clId="{756C80A4-D2F5-4CC3-837D-F3E43547C81B}" dt="2020-02-20T03:36:23.342" v="0"/>
          <ac:spMkLst>
            <pc:docMk/>
            <pc:sldMk cId="369591808" sldId="1159"/>
            <ac:spMk id="8" creationId="{3232F54D-13F0-40D5-92AE-DCA7F7C1F949}"/>
          </ac:spMkLst>
        </pc:spChg>
      </pc:sldChg>
      <pc:sldMasterChg chg="modSldLayout">
        <pc:chgData name="Andrew McCulloch" userId="2f2cb74d-2e0f-40b3-b9a8-c8d205a12428" providerId="ADAL" clId="{756C80A4-D2F5-4CC3-837D-F3E43547C81B}" dt="2020-02-20T03:36:23.342" v="0"/>
        <pc:sldMasterMkLst>
          <pc:docMk/>
          <pc:sldMasterMk cId="618104081" sldId="2147483664"/>
        </pc:sldMasterMkLst>
        <pc:sldLayoutChg chg="addSp">
          <pc:chgData name="Andrew McCulloch" userId="2f2cb74d-2e0f-40b3-b9a8-c8d205a12428" providerId="ADAL" clId="{756C80A4-D2F5-4CC3-837D-F3E43547C81B}" dt="2020-02-20T03:36:23.342" v="0"/>
          <pc:sldLayoutMkLst>
            <pc:docMk/>
            <pc:sldMasterMk cId="618104081" sldId="2147483664"/>
            <pc:sldLayoutMk cId="2537245780" sldId="2147483676"/>
          </pc:sldLayoutMkLst>
          <pc:spChg chg="add">
            <ac:chgData name="Andrew McCulloch" userId="2f2cb74d-2e0f-40b3-b9a8-c8d205a12428" providerId="ADAL" clId="{756C80A4-D2F5-4CC3-837D-F3E43547C81B}" dt="2020-02-20T03:36:23.342" v="0"/>
            <ac:spMkLst>
              <pc:docMk/>
              <pc:sldMasterMk cId="618104081" sldId="2147483664"/>
              <pc:sldLayoutMk cId="2537245780" sldId="2147483676"/>
              <ac:spMk id="11" creationId="{96E94B77-CC55-4053-B8DF-8C33C7711E79}"/>
            </ac:spMkLst>
          </pc:spChg>
          <pc:picChg chg="add">
            <ac:chgData name="Andrew McCulloch" userId="2f2cb74d-2e0f-40b3-b9a8-c8d205a12428" providerId="ADAL" clId="{756C80A4-D2F5-4CC3-837D-F3E43547C81B}" dt="2020-02-20T03:36:23.342" v="0"/>
            <ac:picMkLst>
              <pc:docMk/>
              <pc:sldMasterMk cId="618104081" sldId="2147483664"/>
              <pc:sldLayoutMk cId="2537245780" sldId="2147483676"/>
              <ac:picMk id="8" creationId="{2B8FAE35-5A7F-4AD0-B725-1AB60A52453C}"/>
            </ac:picMkLst>
          </pc:picChg>
        </pc:sldLayoutChg>
        <pc:sldLayoutChg chg="addSp">
          <pc:chgData name="Andrew McCulloch" userId="2f2cb74d-2e0f-40b3-b9a8-c8d205a12428" providerId="ADAL" clId="{756C80A4-D2F5-4CC3-837D-F3E43547C81B}" dt="2020-02-20T03:36:23.342" v="0"/>
          <pc:sldLayoutMkLst>
            <pc:docMk/>
            <pc:sldMasterMk cId="618104081" sldId="2147483664"/>
            <pc:sldLayoutMk cId="2556990823" sldId="2147483677"/>
          </pc:sldLayoutMkLst>
          <pc:spChg chg="add">
            <ac:chgData name="Andrew McCulloch" userId="2f2cb74d-2e0f-40b3-b9a8-c8d205a12428" providerId="ADAL" clId="{756C80A4-D2F5-4CC3-837D-F3E43547C81B}" dt="2020-02-20T03:36:23.342" v="0"/>
            <ac:spMkLst>
              <pc:docMk/>
              <pc:sldMasterMk cId="618104081" sldId="2147483664"/>
              <pc:sldLayoutMk cId="2556990823" sldId="2147483677"/>
              <ac:spMk id="9" creationId="{A99E72E4-298D-4941-A5D5-133D9EB4DCFF}"/>
            </ac:spMkLst>
          </pc:spChg>
          <pc:spChg chg="add">
            <ac:chgData name="Andrew McCulloch" userId="2f2cb74d-2e0f-40b3-b9a8-c8d205a12428" providerId="ADAL" clId="{756C80A4-D2F5-4CC3-837D-F3E43547C81B}" dt="2020-02-20T03:36:23.342" v="0"/>
            <ac:spMkLst>
              <pc:docMk/>
              <pc:sldMasterMk cId="618104081" sldId="2147483664"/>
              <pc:sldLayoutMk cId="2556990823" sldId="2147483677"/>
              <ac:spMk id="12" creationId="{BAC16A5D-9B53-4AD0-8A8B-79A9F9912FBE}"/>
            </ac:spMkLst>
          </pc:spChg>
          <pc:spChg chg="add">
            <ac:chgData name="Andrew McCulloch" userId="2f2cb74d-2e0f-40b3-b9a8-c8d205a12428" providerId="ADAL" clId="{756C80A4-D2F5-4CC3-837D-F3E43547C81B}" dt="2020-02-20T03:36:23.342" v="0"/>
            <ac:spMkLst>
              <pc:docMk/>
              <pc:sldMasterMk cId="618104081" sldId="2147483664"/>
              <pc:sldLayoutMk cId="2556990823" sldId="2147483677"/>
              <ac:spMk id="14" creationId="{EDE28962-3C0B-4B8E-B404-0F2D06709F41}"/>
            </ac:spMkLst>
          </pc:spChg>
          <pc:graphicFrameChg chg="add">
            <ac:chgData name="Andrew McCulloch" userId="2f2cb74d-2e0f-40b3-b9a8-c8d205a12428" providerId="ADAL" clId="{756C80A4-D2F5-4CC3-837D-F3E43547C81B}" dt="2020-02-20T03:36:23.342" v="0"/>
            <ac:graphicFrameMkLst>
              <pc:docMk/>
              <pc:sldMasterMk cId="618104081" sldId="2147483664"/>
              <pc:sldLayoutMk cId="2556990823" sldId="2147483677"/>
              <ac:graphicFrameMk id="10" creationId="{C23D6982-E23D-446A-AA01-ECF24B67FD20}"/>
            </ac:graphicFrameMkLst>
          </pc:graphicFrameChg>
          <pc:picChg chg="add">
            <ac:chgData name="Andrew McCulloch" userId="2f2cb74d-2e0f-40b3-b9a8-c8d205a12428" providerId="ADAL" clId="{756C80A4-D2F5-4CC3-837D-F3E43547C81B}" dt="2020-02-20T03:36:23.342" v="0"/>
            <ac:picMkLst>
              <pc:docMk/>
              <pc:sldMasterMk cId="618104081" sldId="2147483664"/>
              <pc:sldLayoutMk cId="2556990823" sldId="2147483677"/>
              <ac:picMk id="13" creationId="{FCE4B306-CD1D-42CB-8060-9A57CE48B966}"/>
            </ac:picMkLst>
          </pc:picChg>
        </pc:sldLayoutChg>
        <pc:sldLayoutChg chg="addSp">
          <pc:chgData name="Andrew McCulloch" userId="2f2cb74d-2e0f-40b3-b9a8-c8d205a12428" providerId="ADAL" clId="{756C80A4-D2F5-4CC3-837D-F3E43547C81B}" dt="2020-02-20T03:36:23.342" v="0"/>
          <pc:sldLayoutMkLst>
            <pc:docMk/>
            <pc:sldMasterMk cId="618104081" sldId="2147483664"/>
            <pc:sldLayoutMk cId="981401691" sldId="2147483678"/>
          </pc:sldLayoutMkLst>
          <pc:spChg chg="add">
            <ac:chgData name="Andrew McCulloch" userId="2f2cb74d-2e0f-40b3-b9a8-c8d205a12428" providerId="ADAL" clId="{756C80A4-D2F5-4CC3-837D-F3E43547C81B}" dt="2020-02-20T03:36:23.342" v="0"/>
            <ac:spMkLst>
              <pc:docMk/>
              <pc:sldMasterMk cId="618104081" sldId="2147483664"/>
              <pc:sldLayoutMk cId="981401691" sldId="2147483678"/>
              <ac:spMk id="14" creationId="{589B321B-252D-4189-B4C3-5A35720D9A8A}"/>
            </ac:spMkLst>
          </pc:spChg>
          <pc:spChg chg="add">
            <ac:chgData name="Andrew McCulloch" userId="2f2cb74d-2e0f-40b3-b9a8-c8d205a12428" providerId="ADAL" clId="{756C80A4-D2F5-4CC3-837D-F3E43547C81B}" dt="2020-02-20T03:36:23.342" v="0"/>
            <ac:spMkLst>
              <pc:docMk/>
              <pc:sldMasterMk cId="618104081" sldId="2147483664"/>
              <pc:sldLayoutMk cId="981401691" sldId="2147483678"/>
              <ac:spMk id="15" creationId="{7809F535-1105-4448-8094-D44501163BF7}"/>
            </ac:spMkLst>
          </pc:spChg>
          <pc:spChg chg="add">
            <ac:chgData name="Andrew McCulloch" userId="2f2cb74d-2e0f-40b3-b9a8-c8d205a12428" providerId="ADAL" clId="{756C80A4-D2F5-4CC3-837D-F3E43547C81B}" dt="2020-02-20T03:36:23.342" v="0"/>
            <ac:spMkLst>
              <pc:docMk/>
              <pc:sldMasterMk cId="618104081" sldId="2147483664"/>
              <pc:sldLayoutMk cId="981401691" sldId="2147483678"/>
              <ac:spMk id="21" creationId="{A70C26A6-6D71-44C4-9078-5334132BE05C}"/>
            </ac:spMkLst>
          </pc:spChg>
        </pc:sldLayoutChg>
        <pc:sldLayoutChg chg="addSp">
          <pc:chgData name="Andrew McCulloch" userId="2f2cb74d-2e0f-40b3-b9a8-c8d205a12428" providerId="ADAL" clId="{756C80A4-D2F5-4CC3-837D-F3E43547C81B}" dt="2020-02-20T03:36:23.342" v="0"/>
          <pc:sldLayoutMkLst>
            <pc:docMk/>
            <pc:sldMasterMk cId="618104081" sldId="2147483664"/>
            <pc:sldLayoutMk cId="2373754457" sldId="2147483679"/>
          </pc:sldLayoutMkLst>
          <pc:spChg chg="add">
            <ac:chgData name="Andrew McCulloch" userId="2f2cb74d-2e0f-40b3-b9a8-c8d205a12428" providerId="ADAL" clId="{756C80A4-D2F5-4CC3-837D-F3E43547C81B}" dt="2020-02-20T03:36:23.342" v="0"/>
            <ac:spMkLst>
              <pc:docMk/>
              <pc:sldMasterMk cId="618104081" sldId="2147483664"/>
              <pc:sldLayoutMk cId="2373754457" sldId="2147483679"/>
              <ac:spMk id="14" creationId="{FA432A89-C7BC-4E2E-9B7E-F9025FE0CF3C}"/>
            </ac:spMkLst>
          </pc:spChg>
          <pc:spChg chg="add">
            <ac:chgData name="Andrew McCulloch" userId="2f2cb74d-2e0f-40b3-b9a8-c8d205a12428" providerId="ADAL" clId="{756C80A4-D2F5-4CC3-837D-F3E43547C81B}" dt="2020-02-20T03:36:23.342" v="0"/>
            <ac:spMkLst>
              <pc:docMk/>
              <pc:sldMasterMk cId="618104081" sldId="2147483664"/>
              <pc:sldLayoutMk cId="2373754457" sldId="2147483679"/>
              <ac:spMk id="17" creationId="{DBA2CF00-3112-4B58-B70F-63EF224F56A4}"/>
            </ac:spMkLst>
          </pc:spChg>
          <pc:spChg chg="add">
            <ac:chgData name="Andrew McCulloch" userId="2f2cb74d-2e0f-40b3-b9a8-c8d205a12428" providerId="ADAL" clId="{756C80A4-D2F5-4CC3-837D-F3E43547C81B}" dt="2020-02-20T03:36:23.342" v="0"/>
            <ac:spMkLst>
              <pc:docMk/>
              <pc:sldMasterMk cId="618104081" sldId="2147483664"/>
              <pc:sldLayoutMk cId="2373754457" sldId="2147483679"/>
              <ac:spMk id="18" creationId="{DD5652B2-5FDC-44A8-A10D-CF77F85052D4}"/>
            </ac:spMkLst>
          </pc:spChg>
          <pc:cxnChg chg="add">
            <ac:chgData name="Andrew McCulloch" userId="2f2cb74d-2e0f-40b3-b9a8-c8d205a12428" providerId="ADAL" clId="{756C80A4-D2F5-4CC3-837D-F3E43547C81B}" dt="2020-02-20T03:36:23.342" v="0"/>
            <ac:cxnSpMkLst>
              <pc:docMk/>
              <pc:sldMasterMk cId="618104081" sldId="2147483664"/>
              <pc:sldLayoutMk cId="2373754457" sldId="2147483679"/>
              <ac:cxnSpMk id="19" creationId="{5EE920FF-9DF6-4309-81A3-5438DFB8487A}"/>
            </ac:cxnSpMkLst>
          </pc:cxnChg>
        </pc:sldLayoutChg>
      </pc:sldMasterChg>
      <pc:sldMasterChg chg="modSldLayout">
        <pc:chgData name="Andrew McCulloch" userId="2f2cb74d-2e0f-40b3-b9a8-c8d205a12428" providerId="ADAL" clId="{756C80A4-D2F5-4CC3-837D-F3E43547C81B}" dt="2020-02-20T03:36:24.254" v="1"/>
        <pc:sldMasterMkLst>
          <pc:docMk/>
          <pc:sldMasterMk cId="349449407" sldId="2147483680"/>
        </pc:sldMasterMkLst>
        <pc:sldLayoutChg chg="delSp">
          <pc:chgData name="Andrew McCulloch" userId="2f2cb74d-2e0f-40b3-b9a8-c8d205a12428" providerId="ADAL" clId="{756C80A4-D2F5-4CC3-837D-F3E43547C81B}" dt="2020-02-20T03:36:24.254" v="1"/>
          <pc:sldLayoutMkLst>
            <pc:docMk/>
            <pc:sldMasterMk cId="349449407" sldId="2147483680"/>
            <pc:sldLayoutMk cId="53461429" sldId="2147483697"/>
          </pc:sldLayoutMkLst>
          <pc:spChg chg="del">
            <ac:chgData name="Andrew McCulloch" userId="2f2cb74d-2e0f-40b3-b9a8-c8d205a12428" providerId="ADAL" clId="{756C80A4-D2F5-4CC3-837D-F3E43547C81B}" dt="2020-02-20T03:36:24.254" v="1"/>
            <ac:spMkLst>
              <pc:docMk/>
              <pc:sldMasterMk cId="349449407" sldId="2147483680"/>
              <pc:sldLayoutMk cId="53461429" sldId="2147483697"/>
              <ac:spMk id="9" creationId="{281C2A39-6EC8-9840-8CCA-1245AC4D85E8}"/>
            </ac:spMkLst>
          </pc:spChg>
          <pc:picChg chg="del">
            <ac:chgData name="Andrew McCulloch" userId="2f2cb74d-2e0f-40b3-b9a8-c8d205a12428" providerId="ADAL" clId="{756C80A4-D2F5-4CC3-837D-F3E43547C81B}" dt="2020-02-20T03:36:24.254" v="1"/>
            <ac:picMkLst>
              <pc:docMk/>
              <pc:sldMasterMk cId="349449407" sldId="2147483680"/>
              <pc:sldLayoutMk cId="53461429" sldId="2147483697"/>
              <ac:picMk id="7" creationId="{4BCA9CB6-04EE-934B-B7C3-DC0A468D06C5}"/>
            </ac:picMkLst>
          </pc:picChg>
        </pc:sldLayoutChg>
        <pc:sldLayoutChg chg="delSp">
          <pc:chgData name="Andrew McCulloch" userId="2f2cb74d-2e0f-40b3-b9a8-c8d205a12428" providerId="ADAL" clId="{756C80A4-D2F5-4CC3-837D-F3E43547C81B}" dt="2020-02-20T03:36:24.254" v="1"/>
          <pc:sldLayoutMkLst>
            <pc:docMk/>
            <pc:sldMasterMk cId="349449407" sldId="2147483680"/>
            <pc:sldLayoutMk cId="2005208942" sldId="2147483698"/>
          </pc:sldLayoutMkLst>
          <pc:spChg chg="del">
            <ac:chgData name="Andrew McCulloch" userId="2f2cb74d-2e0f-40b3-b9a8-c8d205a12428" providerId="ADAL" clId="{756C80A4-D2F5-4CC3-837D-F3E43547C81B}" dt="2020-02-20T03:36:24.254" v="1"/>
            <ac:spMkLst>
              <pc:docMk/>
              <pc:sldMasterMk cId="349449407" sldId="2147483680"/>
              <pc:sldLayoutMk cId="2005208942" sldId="2147483698"/>
              <ac:spMk id="2" creationId="{9766E6E9-9D6B-421A-AB50-3FE8FCEB1A9E}"/>
            </ac:spMkLst>
          </pc:spChg>
          <pc:spChg chg="del">
            <ac:chgData name="Andrew McCulloch" userId="2f2cb74d-2e0f-40b3-b9a8-c8d205a12428" providerId="ADAL" clId="{756C80A4-D2F5-4CC3-837D-F3E43547C81B}" dt="2020-02-20T03:36:24.254" v="1"/>
            <ac:spMkLst>
              <pc:docMk/>
              <pc:sldMasterMk cId="349449407" sldId="2147483680"/>
              <pc:sldLayoutMk cId="2005208942" sldId="2147483698"/>
              <ac:spMk id="8" creationId="{5C2E2863-D43A-49A8-9C4C-8309AE351605}"/>
            </ac:spMkLst>
          </pc:spChg>
          <pc:spChg chg="del">
            <ac:chgData name="Andrew McCulloch" userId="2f2cb74d-2e0f-40b3-b9a8-c8d205a12428" providerId="ADAL" clId="{756C80A4-D2F5-4CC3-837D-F3E43547C81B}" dt="2020-02-20T03:36:24.254" v="1"/>
            <ac:spMkLst>
              <pc:docMk/>
              <pc:sldMasterMk cId="349449407" sldId="2147483680"/>
              <pc:sldLayoutMk cId="2005208942" sldId="2147483698"/>
              <ac:spMk id="15" creationId="{566029C1-F0D3-E645-B84A-A9F0234D71F7}"/>
            </ac:spMkLst>
          </pc:spChg>
          <pc:graphicFrameChg chg="del">
            <ac:chgData name="Andrew McCulloch" userId="2f2cb74d-2e0f-40b3-b9a8-c8d205a12428" providerId="ADAL" clId="{756C80A4-D2F5-4CC3-837D-F3E43547C81B}" dt="2020-02-20T03:36:24.254" v="1"/>
            <ac:graphicFrameMkLst>
              <pc:docMk/>
              <pc:sldMasterMk cId="349449407" sldId="2147483680"/>
              <pc:sldLayoutMk cId="2005208942" sldId="2147483698"/>
              <ac:graphicFrameMk id="4" creationId="{00000000-0000-0000-0000-000000000000}"/>
            </ac:graphicFrameMkLst>
          </pc:graphicFrameChg>
          <pc:picChg chg="del">
            <ac:chgData name="Andrew McCulloch" userId="2f2cb74d-2e0f-40b3-b9a8-c8d205a12428" providerId="ADAL" clId="{756C80A4-D2F5-4CC3-837D-F3E43547C81B}" dt="2020-02-20T03:36:24.254" v="1"/>
            <ac:picMkLst>
              <pc:docMk/>
              <pc:sldMasterMk cId="349449407" sldId="2147483680"/>
              <pc:sldLayoutMk cId="2005208942" sldId="2147483698"/>
              <ac:picMk id="17" creationId="{B9AE7AFB-9D49-6D4F-94A7-340F26725359}"/>
            </ac:picMkLst>
          </pc:picChg>
        </pc:sldLayoutChg>
        <pc:sldLayoutChg chg="delSp">
          <pc:chgData name="Andrew McCulloch" userId="2f2cb74d-2e0f-40b3-b9a8-c8d205a12428" providerId="ADAL" clId="{756C80A4-D2F5-4CC3-837D-F3E43547C81B}" dt="2020-02-20T03:36:24.254" v="1"/>
          <pc:sldLayoutMkLst>
            <pc:docMk/>
            <pc:sldMasterMk cId="349449407" sldId="2147483680"/>
            <pc:sldLayoutMk cId="87968436" sldId="2147483699"/>
          </pc:sldLayoutMkLst>
          <pc:spChg chg="del">
            <ac:chgData name="Andrew McCulloch" userId="2f2cb74d-2e0f-40b3-b9a8-c8d205a12428" providerId="ADAL" clId="{756C80A4-D2F5-4CC3-837D-F3E43547C81B}" dt="2020-02-20T03:36:24.254" v="1"/>
            <ac:spMkLst>
              <pc:docMk/>
              <pc:sldMasterMk cId="349449407" sldId="2147483680"/>
              <pc:sldLayoutMk cId="87968436" sldId="2147483699"/>
              <ac:spMk id="16" creationId="{7AAA90B9-B867-4F47-86D9-EC19D1C03F88}"/>
            </ac:spMkLst>
          </pc:spChg>
          <pc:spChg chg="del">
            <ac:chgData name="Andrew McCulloch" userId="2f2cb74d-2e0f-40b3-b9a8-c8d205a12428" providerId="ADAL" clId="{756C80A4-D2F5-4CC3-837D-F3E43547C81B}" dt="2020-02-20T03:36:24.254" v="1"/>
            <ac:spMkLst>
              <pc:docMk/>
              <pc:sldMasterMk cId="349449407" sldId="2147483680"/>
              <pc:sldLayoutMk cId="87968436" sldId="2147483699"/>
              <ac:spMk id="19" creationId="{778E2079-C431-AD4F-A10D-74CA8DD1E00E}"/>
            </ac:spMkLst>
          </pc:spChg>
          <pc:spChg chg="del">
            <ac:chgData name="Andrew McCulloch" userId="2f2cb74d-2e0f-40b3-b9a8-c8d205a12428" providerId="ADAL" clId="{756C80A4-D2F5-4CC3-837D-F3E43547C81B}" dt="2020-02-20T03:36:24.254" v="1"/>
            <ac:spMkLst>
              <pc:docMk/>
              <pc:sldMasterMk cId="349449407" sldId="2147483680"/>
              <pc:sldLayoutMk cId="87968436" sldId="2147483699"/>
              <ac:spMk id="22" creationId="{C1CCC39D-4A63-C14B-9F30-96872F51591C}"/>
            </ac:spMkLst>
          </pc:spChg>
        </pc:sldLayoutChg>
        <pc:sldLayoutChg chg="delSp">
          <pc:chgData name="Andrew McCulloch" userId="2f2cb74d-2e0f-40b3-b9a8-c8d205a12428" providerId="ADAL" clId="{756C80A4-D2F5-4CC3-837D-F3E43547C81B}" dt="2020-02-20T03:36:24.254" v="1"/>
          <pc:sldLayoutMkLst>
            <pc:docMk/>
            <pc:sldMasterMk cId="349449407" sldId="2147483680"/>
            <pc:sldLayoutMk cId="239778989" sldId="2147483700"/>
          </pc:sldLayoutMkLst>
          <pc:spChg chg="del">
            <ac:chgData name="Andrew McCulloch" userId="2f2cb74d-2e0f-40b3-b9a8-c8d205a12428" providerId="ADAL" clId="{756C80A4-D2F5-4CC3-837D-F3E43547C81B}" dt="2020-02-20T03:36:24.254" v="1"/>
            <ac:spMkLst>
              <pc:docMk/>
              <pc:sldMasterMk cId="349449407" sldId="2147483680"/>
              <pc:sldLayoutMk cId="239778989" sldId="2147483700"/>
              <ac:spMk id="12" creationId="{DF11B0FC-7BBA-411C-8A12-8924E6921E5D}"/>
            </ac:spMkLst>
          </pc:spChg>
          <pc:spChg chg="del">
            <ac:chgData name="Andrew McCulloch" userId="2f2cb74d-2e0f-40b3-b9a8-c8d205a12428" providerId="ADAL" clId="{756C80A4-D2F5-4CC3-837D-F3E43547C81B}" dt="2020-02-20T03:36:24.254" v="1"/>
            <ac:spMkLst>
              <pc:docMk/>
              <pc:sldMasterMk cId="349449407" sldId="2147483680"/>
              <pc:sldLayoutMk cId="239778989" sldId="2147483700"/>
              <ac:spMk id="32" creationId="{740A8979-D4A1-E442-BDD0-9E383818F46A}"/>
            </ac:spMkLst>
          </pc:spChg>
          <pc:spChg chg="del">
            <ac:chgData name="Andrew McCulloch" userId="2f2cb74d-2e0f-40b3-b9a8-c8d205a12428" providerId="ADAL" clId="{756C80A4-D2F5-4CC3-837D-F3E43547C81B}" dt="2020-02-20T03:36:24.254" v="1"/>
            <ac:spMkLst>
              <pc:docMk/>
              <pc:sldMasterMk cId="349449407" sldId="2147483680"/>
              <pc:sldLayoutMk cId="239778989" sldId="2147483700"/>
              <ac:spMk id="34" creationId="{B4F3F40B-30CE-F84B-9B8E-AEB9C8F34EF3}"/>
            </ac:spMkLst>
          </pc:spChg>
          <pc:cxnChg chg="del">
            <ac:chgData name="Andrew McCulloch" userId="2f2cb74d-2e0f-40b3-b9a8-c8d205a12428" providerId="ADAL" clId="{756C80A4-D2F5-4CC3-837D-F3E43547C81B}" dt="2020-02-20T03:36:24.254" v="1"/>
            <ac:cxnSpMkLst>
              <pc:docMk/>
              <pc:sldMasterMk cId="349449407" sldId="2147483680"/>
              <pc:sldLayoutMk cId="239778989" sldId="2147483700"/>
              <ac:cxnSpMk id="3" creationId="{7E4D4C9D-76DC-4413-B8EC-74AFFF93B701}"/>
            </ac:cxnSpMkLst>
          </pc:cxnChg>
        </pc:sldLayoutChg>
      </pc:sldMasterChg>
      <pc:sldMasterChg chg="modSldLayout">
        <pc:chgData name="Andrew McCulloch" userId="2f2cb74d-2e0f-40b3-b9a8-c8d205a12428" providerId="ADAL" clId="{756C80A4-D2F5-4CC3-837D-F3E43547C81B}" dt="2020-02-20T03:36:29.102" v="2"/>
        <pc:sldMasterMkLst>
          <pc:docMk/>
          <pc:sldMasterMk cId="1745611621" sldId="2147483733"/>
        </pc:sldMasterMkLst>
        <pc:sldLayoutChg chg="addSp">
          <pc:chgData name="Andrew McCulloch" userId="2f2cb74d-2e0f-40b3-b9a8-c8d205a12428" providerId="ADAL" clId="{756C80A4-D2F5-4CC3-837D-F3E43547C81B}" dt="2020-02-20T03:36:29.102" v="2"/>
          <pc:sldLayoutMkLst>
            <pc:docMk/>
            <pc:sldMasterMk cId="1745611621" sldId="2147483733"/>
            <pc:sldLayoutMk cId="2353458319" sldId="2147483745"/>
          </pc:sldLayoutMkLst>
          <pc:spChg chg="add">
            <ac:chgData name="Andrew McCulloch" userId="2f2cb74d-2e0f-40b3-b9a8-c8d205a12428" providerId="ADAL" clId="{756C80A4-D2F5-4CC3-837D-F3E43547C81B}" dt="2020-02-20T03:36:29.102" v="2"/>
            <ac:spMkLst>
              <pc:docMk/>
              <pc:sldMasterMk cId="1745611621" sldId="2147483733"/>
              <pc:sldLayoutMk cId="2353458319" sldId="2147483745"/>
              <ac:spMk id="11" creationId="{56CA4C4D-1A79-4CE5-8C6D-8DC5D496DC9C}"/>
            </ac:spMkLst>
          </pc:spChg>
          <pc:picChg chg="add">
            <ac:chgData name="Andrew McCulloch" userId="2f2cb74d-2e0f-40b3-b9a8-c8d205a12428" providerId="ADAL" clId="{756C80A4-D2F5-4CC3-837D-F3E43547C81B}" dt="2020-02-20T03:36:29.102" v="2"/>
            <ac:picMkLst>
              <pc:docMk/>
              <pc:sldMasterMk cId="1745611621" sldId="2147483733"/>
              <pc:sldLayoutMk cId="2353458319" sldId="2147483745"/>
              <ac:picMk id="8" creationId="{B87D89F4-1E81-4FC5-8FFE-79BE92208BA0}"/>
            </ac:picMkLst>
          </pc:picChg>
        </pc:sldLayoutChg>
        <pc:sldLayoutChg chg="addSp">
          <pc:chgData name="Andrew McCulloch" userId="2f2cb74d-2e0f-40b3-b9a8-c8d205a12428" providerId="ADAL" clId="{756C80A4-D2F5-4CC3-837D-F3E43547C81B}" dt="2020-02-20T03:36:29.102" v="2"/>
          <pc:sldLayoutMkLst>
            <pc:docMk/>
            <pc:sldMasterMk cId="1745611621" sldId="2147483733"/>
            <pc:sldLayoutMk cId="595826788" sldId="2147483746"/>
          </pc:sldLayoutMkLst>
          <pc:spChg chg="add">
            <ac:chgData name="Andrew McCulloch" userId="2f2cb74d-2e0f-40b3-b9a8-c8d205a12428" providerId="ADAL" clId="{756C80A4-D2F5-4CC3-837D-F3E43547C81B}" dt="2020-02-20T03:36:29.102" v="2"/>
            <ac:spMkLst>
              <pc:docMk/>
              <pc:sldMasterMk cId="1745611621" sldId="2147483733"/>
              <pc:sldLayoutMk cId="595826788" sldId="2147483746"/>
              <ac:spMk id="9" creationId="{8957452A-1182-40D9-8C56-F9E8F26B31AE}"/>
            </ac:spMkLst>
          </pc:spChg>
          <pc:spChg chg="add">
            <ac:chgData name="Andrew McCulloch" userId="2f2cb74d-2e0f-40b3-b9a8-c8d205a12428" providerId="ADAL" clId="{756C80A4-D2F5-4CC3-837D-F3E43547C81B}" dt="2020-02-20T03:36:29.102" v="2"/>
            <ac:spMkLst>
              <pc:docMk/>
              <pc:sldMasterMk cId="1745611621" sldId="2147483733"/>
              <pc:sldLayoutMk cId="595826788" sldId="2147483746"/>
              <ac:spMk id="12" creationId="{3C5F9FF0-AF29-452D-9918-390458D37A19}"/>
            </ac:spMkLst>
          </pc:spChg>
          <pc:spChg chg="add">
            <ac:chgData name="Andrew McCulloch" userId="2f2cb74d-2e0f-40b3-b9a8-c8d205a12428" providerId="ADAL" clId="{756C80A4-D2F5-4CC3-837D-F3E43547C81B}" dt="2020-02-20T03:36:29.102" v="2"/>
            <ac:spMkLst>
              <pc:docMk/>
              <pc:sldMasterMk cId="1745611621" sldId="2147483733"/>
              <pc:sldLayoutMk cId="595826788" sldId="2147483746"/>
              <ac:spMk id="14" creationId="{F819BD6A-E9C7-45B8-BA82-4D72AC17A82A}"/>
            </ac:spMkLst>
          </pc:spChg>
          <pc:graphicFrameChg chg="add">
            <ac:chgData name="Andrew McCulloch" userId="2f2cb74d-2e0f-40b3-b9a8-c8d205a12428" providerId="ADAL" clId="{756C80A4-D2F5-4CC3-837D-F3E43547C81B}" dt="2020-02-20T03:36:29.102" v="2"/>
            <ac:graphicFrameMkLst>
              <pc:docMk/>
              <pc:sldMasterMk cId="1745611621" sldId="2147483733"/>
              <pc:sldLayoutMk cId="595826788" sldId="2147483746"/>
              <ac:graphicFrameMk id="10" creationId="{E0426130-6FC1-4703-B18E-D5E02B80D02E}"/>
            </ac:graphicFrameMkLst>
          </pc:graphicFrameChg>
          <pc:picChg chg="add">
            <ac:chgData name="Andrew McCulloch" userId="2f2cb74d-2e0f-40b3-b9a8-c8d205a12428" providerId="ADAL" clId="{756C80A4-D2F5-4CC3-837D-F3E43547C81B}" dt="2020-02-20T03:36:29.102" v="2"/>
            <ac:picMkLst>
              <pc:docMk/>
              <pc:sldMasterMk cId="1745611621" sldId="2147483733"/>
              <pc:sldLayoutMk cId="595826788" sldId="2147483746"/>
              <ac:picMk id="13" creationId="{4D6009D3-1728-4587-978E-19DDEE0DE927}"/>
            </ac:picMkLst>
          </pc:picChg>
        </pc:sldLayoutChg>
        <pc:sldLayoutChg chg="addSp">
          <pc:chgData name="Andrew McCulloch" userId="2f2cb74d-2e0f-40b3-b9a8-c8d205a12428" providerId="ADAL" clId="{756C80A4-D2F5-4CC3-837D-F3E43547C81B}" dt="2020-02-20T03:36:29.102" v="2"/>
          <pc:sldLayoutMkLst>
            <pc:docMk/>
            <pc:sldMasterMk cId="1745611621" sldId="2147483733"/>
            <pc:sldLayoutMk cId="1239313249" sldId="2147483747"/>
          </pc:sldLayoutMkLst>
          <pc:spChg chg="add">
            <ac:chgData name="Andrew McCulloch" userId="2f2cb74d-2e0f-40b3-b9a8-c8d205a12428" providerId="ADAL" clId="{756C80A4-D2F5-4CC3-837D-F3E43547C81B}" dt="2020-02-20T03:36:29.102" v="2"/>
            <ac:spMkLst>
              <pc:docMk/>
              <pc:sldMasterMk cId="1745611621" sldId="2147483733"/>
              <pc:sldLayoutMk cId="1239313249" sldId="2147483747"/>
              <ac:spMk id="14" creationId="{D09DFA73-E286-43A2-8245-E0FCDFAA5FB9}"/>
            </ac:spMkLst>
          </pc:spChg>
          <pc:spChg chg="add">
            <ac:chgData name="Andrew McCulloch" userId="2f2cb74d-2e0f-40b3-b9a8-c8d205a12428" providerId="ADAL" clId="{756C80A4-D2F5-4CC3-837D-F3E43547C81B}" dt="2020-02-20T03:36:29.102" v="2"/>
            <ac:spMkLst>
              <pc:docMk/>
              <pc:sldMasterMk cId="1745611621" sldId="2147483733"/>
              <pc:sldLayoutMk cId="1239313249" sldId="2147483747"/>
              <ac:spMk id="15" creationId="{ADE3870E-6666-4019-B20A-3DE072782882}"/>
            </ac:spMkLst>
          </pc:spChg>
          <pc:spChg chg="add">
            <ac:chgData name="Andrew McCulloch" userId="2f2cb74d-2e0f-40b3-b9a8-c8d205a12428" providerId="ADAL" clId="{756C80A4-D2F5-4CC3-837D-F3E43547C81B}" dt="2020-02-20T03:36:29.102" v="2"/>
            <ac:spMkLst>
              <pc:docMk/>
              <pc:sldMasterMk cId="1745611621" sldId="2147483733"/>
              <pc:sldLayoutMk cId="1239313249" sldId="2147483747"/>
              <ac:spMk id="21" creationId="{309412E2-8416-473D-B9A2-E2FF92772915}"/>
            </ac:spMkLst>
          </pc:spChg>
        </pc:sldLayoutChg>
        <pc:sldLayoutChg chg="addSp">
          <pc:chgData name="Andrew McCulloch" userId="2f2cb74d-2e0f-40b3-b9a8-c8d205a12428" providerId="ADAL" clId="{756C80A4-D2F5-4CC3-837D-F3E43547C81B}" dt="2020-02-20T03:36:29.102" v="2"/>
          <pc:sldLayoutMkLst>
            <pc:docMk/>
            <pc:sldMasterMk cId="1745611621" sldId="2147483733"/>
            <pc:sldLayoutMk cId="97239259" sldId="2147483748"/>
          </pc:sldLayoutMkLst>
          <pc:spChg chg="add">
            <ac:chgData name="Andrew McCulloch" userId="2f2cb74d-2e0f-40b3-b9a8-c8d205a12428" providerId="ADAL" clId="{756C80A4-D2F5-4CC3-837D-F3E43547C81B}" dt="2020-02-20T03:36:29.102" v="2"/>
            <ac:spMkLst>
              <pc:docMk/>
              <pc:sldMasterMk cId="1745611621" sldId="2147483733"/>
              <pc:sldLayoutMk cId="97239259" sldId="2147483748"/>
              <ac:spMk id="14" creationId="{FA705D55-B9CA-476A-9C3B-17B605841469}"/>
            </ac:spMkLst>
          </pc:spChg>
          <pc:spChg chg="add">
            <ac:chgData name="Andrew McCulloch" userId="2f2cb74d-2e0f-40b3-b9a8-c8d205a12428" providerId="ADAL" clId="{756C80A4-D2F5-4CC3-837D-F3E43547C81B}" dt="2020-02-20T03:36:29.102" v="2"/>
            <ac:spMkLst>
              <pc:docMk/>
              <pc:sldMasterMk cId="1745611621" sldId="2147483733"/>
              <pc:sldLayoutMk cId="97239259" sldId="2147483748"/>
              <ac:spMk id="17" creationId="{B69693DA-274D-4EA3-B3E8-CC806EB12CE2}"/>
            </ac:spMkLst>
          </pc:spChg>
          <pc:spChg chg="add">
            <ac:chgData name="Andrew McCulloch" userId="2f2cb74d-2e0f-40b3-b9a8-c8d205a12428" providerId="ADAL" clId="{756C80A4-D2F5-4CC3-837D-F3E43547C81B}" dt="2020-02-20T03:36:29.102" v="2"/>
            <ac:spMkLst>
              <pc:docMk/>
              <pc:sldMasterMk cId="1745611621" sldId="2147483733"/>
              <pc:sldLayoutMk cId="97239259" sldId="2147483748"/>
              <ac:spMk id="18" creationId="{84EDC9FE-137E-4858-B588-BDB33ACF3C82}"/>
            </ac:spMkLst>
          </pc:spChg>
          <pc:cxnChg chg="add">
            <ac:chgData name="Andrew McCulloch" userId="2f2cb74d-2e0f-40b3-b9a8-c8d205a12428" providerId="ADAL" clId="{756C80A4-D2F5-4CC3-837D-F3E43547C81B}" dt="2020-02-20T03:36:29.102" v="2"/>
            <ac:cxnSpMkLst>
              <pc:docMk/>
              <pc:sldMasterMk cId="1745611621" sldId="2147483733"/>
              <pc:sldLayoutMk cId="97239259" sldId="2147483748"/>
              <ac:cxnSpMk id="19" creationId="{1970AB47-391C-466B-8737-D334ABDA43F0}"/>
            </ac:cxnSpMkLst>
          </pc:cxnChg>
        </pc:sldLayoutChg>
      </pc:sldMasterChg>
      <pc:sldMasterChg chg="modSldLayout">
        <pc:chgData name="Andrew McCulloch" userId="2f2cb74d-2e0f-40b3-b9a8-c8d205a12428" providerId="ADAL" clId="{756C80A4-D2F5-4CC3-837D-F3E43547C81B}" dt="2020-02-20T03:36:33.705" v="3"/>
        <pc:sldMasterMkLst>
          <pc:docMk/>
          <pc:sldMasterMk cId="3464732701" sldId="2147483749"/>
        </pc:sldMasterMkLst>
        <pc:sldLayoutChg chg="delSp">
          <pc:chgData name="Andrew McCulloch" userId="2f2cb74d-2e0f-40b3-b9a8-c8d205a12428" providerId="ADAL" clId="{756C80A4-D2F5-4CC3-837D-F3E43547C81B}" dt="2020-02-20T03:36:33.705" v="3"/>
          <pc:sldLayoutMkLst>
            <pc:docMk/>
            <pc:sldMasterMk cId="3464732701" sldId="2147483749"/>
            <pc:sldLayoutMk cId="2211446382" sldId="2147483766"/>
          </pc:sldLayoutMkLst>
          <pc:spChg chg="del">
            <ac:chgData name="Andrew McCulloch" userId="2f2cb74d-2e0f-40b3-b9a8-c8d205a12428" providerId="ADAL" clId="{756C80A4-D2F5-4CC3-837D-F3E43547C81B}" dt="2020-02-20T03:36:33.705" v="3"/>
            <ac:spMkLst>
              <pc:docMk/>
              <pc:sldMasterMk cId="3464732701" sldId="2147483749"/>
              <pc:sldLayoutMk cId="2211446382" sldId="2147483766"/>
              <ac:spMk id="9" creationId="{281C2A39-6EC8-9840-8CCA-1245AC4D85E8}"/>
            </ac:spMkLst>
          </pc:spChg>
          <pc:picChg chg="del">
            <ac:chgData name="Andrew McCulloch" userId="2f2cb74d-2e0f-40b3-b9a8-c8d205a12428" providerId="ADAL" clId="{756C80A4-D2F5-4CC3-837D-F3E43547C81B}" dt="2020-02-20T03:36:33.705" v="3"/>
            <ac:picMkLst>
              <pc:docMk/>
              <pc:sldMasterMk cId="3464732701" sldId="2147483749"/>
              <pc:sldLayoutMk cId="2211446382" sldId="2147483766"/>
              <ac:picMk id="7" creationId="{4BCA9CB6-04EE-934B-B7C3-DC0A468D06C5}"/>
            </ac:picMkLst>
          </pc:picChg>
        </pc:sldLayoutChg>
        <pc:sldLayoutChg chg="delSp">
          <pc:chgData name="Andrew McCulloch" userId="2f2cb74d-2e0f-40b3-b9a8-c8d205a12428" providerId="ADAL" clId="{756C80A4-D2F5-4CC3-837D-F3E43547C81B}" dt="2020-02-20T03:36:33.705" v="3"/>
          <pc:sldLayoutMkLst>
            <pc:docMk/>
            <pc:sldMasterMk cId="3464732701" sldId="2147483749"/>
            <pc:sldLayoutMk cId="2529382066" sldId="2147483767"/>
          </pc:sldLayoutMkLst>
          <pc:spChg chg="del">
            <ac:chgData name="Andrew McCulloch" userId="2f2cb74d-2e0f-40b3-b9a8-c8d205a12428" providerId="ADAL" clId="{756C80A4-D2F5-4CC3-837D-F3E43547C81B}" dt="2020-02-20T03:36:33.705" v="3"/>
            <ac:spMkLst>
              <pc:docMk/>
              <pc:sldMasterMk cId="3464732701" sldId="2147483749"/>
              <pc:sldLayoutMk cId="2529382066" sldId="2147483767"/>
              <ac:spMk id="2" creationId="{9766E6E9-9D6B-421A-AB50-3FE8FCEB1A9E}"/>
            </ac:spMkLst>
          </pc:spChg>
          <pc:spChg chg="del">
            <ac:chgData name="Andrew McCulloch" userId="2f2cb74d-2e0f-40b3-b9a8-c8d205a12428" providerId="ADAL" clId="{756C80A4-D2F5-4CC3-837D-F3E43547C81B}" dt="2020-02-20T03:36:33.705" v="3"/>
            <ac:spMkLst>
              <pc:docMk/>
              <pc:sldMasterMk cId="3464732701" sldId="2147483749"/>
              <pc:sldLayoutMk cId="2529382066" sldId="2147483767"/>
              <ac:spMk id="8" creationId="{5C2E2863-D43A-49A8-9C4C-8309AE351605}"/>
            </ac:spMkLst>
          </pc:spChg>
          <pc:spChg chg="del">
            <ac:chgData name="Andrew McCulloch" userId="2f2cb74d-2e0f-40b3-b9a8-c8d205a12428" providerId="ADAL" clId="{756C80A4-D2F5-4CC3-837D-F3E43547C81B}" dt="2020-02-20T03:36:33.705" v="3"/>
            <ac:spMkLst>
              <pc:docMk/>
              <pc:sldMasterMk cId="3464732701" sldId="2147483749"/>
              <pc:sldLayoutMk cId="2529382066" sldId="2147483767"/>
              <ac:spMk id="15" creationId="{566029C1-F0D3-E645-B84A-A9F0234D71F7}"/>
            </ac:spMkLst>
          </pc:spChg>
          <pc:graphicFrameChg chg="del">
            <ac:chgData name="Andrew McCulloch" userId="2f2cb74d-2e0f-40b3-b9a8-c8d205a12428" providerId="ADAL" clId="{756C80A4-D2F5-4CC3-837D-F3E43547C81B}" dt="2020-02-20T03:36:33.705" v="3"/>
            <ac:graphicFrameMkLst>
              <pc:docMk/>
              <pc:sldMasterMk cId="3464732701" sldId="2147483749"/>
              <pc:sldLayoutMk cId="2529382066" sldId="2147483767"/>
              <ac:graphicFrameMk id="4" creationId="{00000000-0000-0000-0000-000000000000}"/>
            </ac:graphicFrameMkLst>
          </pc:graphicFrameChg>
          <pc:picChg chg="del">
            <ac:chgData name="Andrew McCulloch" userId="2f2cb74d-2e0f-40b3-b9a8-c8d205a12428" providerId="ADAL" clId="{756C80A4-D2F5-4CC3-837D-F3E43547C81B}" dt="2020-02-20T03:36:33.705" v="3"/>
            <ac:picMkLst>
              <pc:docMk/>
              <pc:sldMasterMk cId="3464732701" sldId="2147483749"/>
              <pc:sldLayoutMk cId="2529382066" sldId="2147483767"/>
              <ac:picMk id="17" creationId="{B9AE7AFB-9D49-6D4F-94A7-340F26725359}"/>
            </ac:picMkLst>
          </pc:picChg>
        </pc:sldLayoutChg>
        <pc:sldLayoutChg chg="delSp">
          <pc:chgData name="Andrew McCulloch" userId="2f2cb74d-2e0f-40b3-b9a8-c8d205a12428" providerId="ADAL" clId="{756C80A4-D2F5-4CC3-837D-F3E43547C81B}" dt="2020-02-20T03:36:33.705" v="3"/>
          <pc:sldLayoutMkLst>
            <pc:docMk/>
            <pc:sldMasterMk cId="3464732701" sldId="2147483749"/>
            <pc:sldLayoutMk cId="3202122549" sldId="2147483768"/>
          </pc:sldLayoutMkLst>
          <pc:spChg chg="del">
            <ac:chgData name="Andrew McCulloch" userId="2f2cb74d-2e0f-40b3-b9a8-c8d205a12428" providerId="ADAL" clId="{756C80A4-D2F5-4CC3-837D-F3E43547C81B}" dt="2020-02-20T03:36:33.705" v="3"/>
            <ac:spMkLst>
              <pc:docMk/>
              <pc:sldMasterMk cId="3464732701" sldId="2147483749"/>
              <pc:sldLayoutMk cId="3202122549" sldId="2147483768"/>
              <ac:spMk id="16" creationId="{7AAA90B9-B867-4F47-86D9-EC19D1C03F88}"/>
            </ac:spMkLst>
          </pc:spChg>
          <pc:spChg chg="del">
            <ac:chgData name="Andrew McCulloch" userId="2f2cb74d-2e0f-40b3-b9a8-c8d205a12428" providerId="ADAL" clId="{756C80A4-D2F5-4CC3-837D-F3E43547C81B}" dt="2020-02-20T03:36:33.705" v="3"/>
            <ac:spMkLst>
              <pc:docMk/>
              <pc:sldMasterMk cId="3464732701" sldId="2147483749"/>
              <pc:sldLayoutMk cId="3202122549" sldId="2147483768"/>
              <ac:spMk id="19" creationId="{778E2079-C431-AD4F-A10D-74CA8DD1E00E}"/>
            </ac:spMkLst>
          </pc:spChg>
          <pc:spChg chg="del">
            <ac:chgData name="Andrew McCulloch" userId="2f2cb74d-2e0f-40b3-b9a8-c8d205a12428" providerId="ADAL" clId="{756C80A4-D2F5-4CC3-837D-F3E43547C81B}" dt="2020-02-20T03:36:33.705" v="3"/>
            <ac:spMkLst>
              <pc:docMk/>
              <pc:sldMasterMk cId="3464732701" sldId="2147483749"/>
              <pc:sldLayoutMk cId="3202122549" sldId="2147483768"/>
              <ac:spMk id="22" creationId="{C1CCC39D-4A63-C14B-9F30-96872F51591C}"/>
            </ac:spMkLst>
          </pc:spChg>
        </pc:sldLayoutChg>
        <pc:sldLayoutChg chg="delSp">
          <pc:chgData name="Andrew McCulloch" userId="2f2cb74d-2e0f-40b3-b9a8-c8d205a12428" providerId="ADAL" clId="{756C80A4-D2F5-4CC3-837D-F3E43547C81B}" dt="2020-02-20T03:36:33.705" v="3"/>
          <pc:sldLayoutMkLst>
            <pc:docMk/>
            <pc:sldMasterMk cId="3464732701" sldId="2147483749"/>
            <pc:sldLayoutMk cId="3298802975" sldId="2147483769"/>
          </pc:sldLayoutMkLst>
          <pc:spChg chg="del">
            <ac:chgData name="Andrew McCulloch" userId="2f2cb74d-2e0f-40b3-b9a8-c8d205a12428" providerId="ADAL" clId="{756C80A4-D2F5-4CC3-837D-F3E43547C81B}" dt="2020-02-20T03:36:33.705" v="3"/>
            <ac:spMkLst>
              <pc:docMk/>
              <pc:sldMasterMk cId="3464732701" sldId="2147483749"/>
              <pc:sldLayoutMk cId="3298802975" sldId="2147483769"/>
              <ac:spMk id="12" creationId="{DF11B0FC-7BBA-411C-8A12-8924E6921E5D}"/>
            </ac:spMkLst>
          </pc:spChg>
          <pc:spChg chg="del">
            <ac:chgData name="Andrew McCulloch" userId="2f2cb74d-2e0f-40b3-b9a8-c8d205a12428" providerId="ADAL" clId="{756C80A4-D2F5-4CC3-837D-F3E43547C81B}" dt="2020-02-20T03:36:33.705" v="3"/>
            <ac:spMkLst>
              <pc:docMk/>
              <pc:sldMasterMk cId="3464732701" sldId="2147483749"/>
              <pc:sldLayoutMk cId="3298802975" sldId="2147483769"/>
              <ac:spMk id="32" creationId="{740A8979-D4A1-E442-BDD0-9E383818F46A}"/>
            </ac:spMkLst>
          </pc:spChg>
          <pc:spChg chg="del">
            <ac:chgData name="Andrew McCulloch" userId="2f2cb74d-2e0f-40b3-b9a8-c8d205a12428" providerId="ADAL" clId="{756C80A4-D2F5-4CC3-837D-F3E43547C81B}" dt="2020-02-20T03:36:33.705" v="3"/>
            <ac:spMkLst>
              <pc:docMk/>
              <pc:sldMasterMk cId="3464732701" sldId="2147483749"/>
              <pc:sldLayoutMk cId="3298802975" sldId="2147483769"/>
              <ac:spMk id="34" creationId="{B4F3F40B-30CE-F84B-9B8E-AEB9C8F34EF3}"/>
            </ac:spMkLst>
          </pc:spChg>
          <pc:cxnChg chg="del">
            <ac:chgData name="Andrew McCulloch" userId="2f2cb74d-2e0f-40b3-b9a8-c8d205a12428" providerId="ADAL" clId="{756C80A4-D2F5-4CC3-837D-F3E43547C81B}" dt="2020-02-20T03:36:33.705" v="3"/>
            <ac:cxnSpMkLst>
              <pc:docMk/>
              <pc:sldMasterMk cId="3464732701" sldId="2147483749"/>
              <pc:sldLayoutMk cId="3298802975" sldId="2147483769"/>
              <ac:cxnSpMk id="3" creationId="{7E4D4C9D-76DC-4413-B8EC-74AFFF93B701}"/>
            </ac:cxnSpMkLst>
          </pc:cxnChg>
        </pc:sldLayoutChg>
      </pc:sldMasterChg>
      <pc:sldMasterChg chg="delSldLayout modSldLayout">
        <pc:chgData name="Andrew McCulloch" userId="2f2cb74d-2e0f-40b3-b9a8-c8d205a12428" providerId="ADAL" clId="{756C80A4-D2F5-4CC3-837D-F3E43547C81B}" dt="2020-02-20T04:37:14.446" v="19" actId="2696"/>
        <pc:sldMasterMkLst>
          <pc:docMk/>
          <pc:sldMasterMk cId="3034886245" sldId="2147483807"/>
        </pc:sldMasterMkLst>
        <pc:sldLayoutChg chg="del">
          <pc:chgData name="Andrew McCulloch" userId="2f2cb74d-2e0f-40b3-b9a8-c8d205a12428" providerId="ADAL" clId="{756C80A4-D2F5-4CC3-837D-F3E43547C81B}" dt="2020-02-20T04:37:02.270" v="8" actId="2696"/>
          <pc:sldLayoutMkLst>
            <pc:docMk/>
            <pc:sldMasterMk cId="3034886245" sldId="2147483807"/>
            <pc:sldLayoutMk cId="721663236" sldId="2147483660"/>
          </pc:sldLayoutMkLst>
        </pc:sldLayoutChg>
        <pc:sldLayoutChg chg="del">
          <pc:chgData name="Andrew McCulloch" userId="2f2cb74d-2e0f-40b3-b9a8-c8d205a12428" providerId="ADAL" clId="{756C80A4-D2F5-4CC3-837D-F3E43547C81B}" dt="2020-02-20T04:37:01.686" v="7" actId="2696"/>
          <pc:sldLayoutMkLst>
            <pc:docMk/>
            <pc:sldMasterMk cId="3034886245" sldId="2147483807"/>
            <pc:sldLayoutMk cId="3533255631" sldId="2147483661"/>
          </pc:sldLayoutMkLst>
        </pc:sldLayoutChg>
        <pc:sldLayoutChg chg="del">
          <pc:chgData name="Andrew McCulloch" userId="2f2cb74d-2e0f-40b3-b9a8-c8d205a12428" providerId="ADAL" clId="{756C80A4-D2F5-4CC3-837D-F3E43547C81B}" dt="2020-02-20T04:37:00.344" v="6" actId="2696"/>
          <pc:sldLayoutMkLst>
            <pc:docMk/>
            <pc:sldMasterMk cId="3034886245" sldId="2147483807"/>
            <pc:sldLayoutMk cId="1960173086" sldId="2147483662"/>
          </pc:sldLayoutMkLst>
        </pc:sldLayoutChg>
        <pc:sldLayoutChg chg="del">
          <pc:chgData name="Andrew McCulloch" userId="2f2cb74d-2e0f-40b3-b9a8-c8d205a12428" providerId="ADAL" clId="{756C80A4-D2F5-4CC3-837D-F3E43547C81B}" dt="2020-02-20T04:36:59.714" v="5" actId="2696"/>
          <pc:sldLayoutMkLst>
            <pc:docMk/>
            <pc:sldMasterMk cId="3034886245" sldId="2147483807"/>
            <pc:sldLayoutMk cId="2041181627" sldId="2147483663"/>
          </pc:sldLayoutMkLst>
        </pc:sldLayoutChg>
        <pc:sldLayoutChg chg="del">
          <pc:chgData name="Andrew McCulloch" userId="2f2cb74d-2e0f-40b3-b9a8-c8d205a12428" providerId="ADAL" clId="{756C80A4-D2F5-4CC3-837D-F3E43547C81B}" dt="2020-02-20T04:37:11.234" v="10" actId="2696"/>
          <pc:sldLayoutMkLst>
            <pc:docMk/>
            <pc:sldMasterMk cId="3034886245" sldId="2147483807"/>
            <pc:sldLayoutMk cId="3592384737" sldId="2147483808"/>
          </pc:sldLayoutMkLst>
        </pc:sldLayoutChg>
        <pc:sldLayoutChg chg="del">
          <pc:chgData name="Andrew McCulloch" userId="2f2cb74d-2e0f-40b3-b9a8-c8d205a12428" providerId="ADAL" clId="{756C80A4-D2F5-4CC3-837D-F3E43547C81B}" dt="2020-02-20T04:37:11.537" v="11" actId="2696"/>
          <pc:sldLayoutMkLst>
            <pc:docMk/>
            <pc:sldMasterMk cId="3034886245" sldId="2147483807"/>
            <pc:sldLayoutMk cId="1091224443" sldId="2147483809"/>
          </pc:sldLayoutMkLst>
        </pc:sldLayoutChg>
        <pc:sldLayoutChg chg="del">
          <pc:chgData name="Andrew McCulloch" userId="2f2cb74d-2e0f-40b3-b9a8-c8d205a12428" providerId="ADAL" clId="{756C80A4-D2F5-4CC3-837D-F3E43547C81B}" dt="2020-02-20T04:37:11.836" v="12" actId="2696"/>
          <pc:sldLayoutMkLst>
            <pc:docMk/>
            <pc:sldMasterMk cId="3034886245" sldId="2147483807"/>
            <pc:sldLayoutMk cId="3245352570" sldId="2147483810"/>
          </pc:sldLayoutMkLst>
        </pc:sldLayoutChg>
        <pc:sldLayoutChg chg="del">
          <pc:chgData name="Andrew McCulloch" userId="2f2cb74d-2e0f-40b3-b9a8-c8d205a12428" providerId="ADAL" clId="{756C80A4-D2F5-4CC3-837D-F3E43547C81B}" dt="2020-02-20T04:37:12.090" v="13" actId="2696"/>
          <pc:sldLayoutMkLst>
            <pc:docMk/>
            <pc:sldMasterMk cId="3034886245" sldId="2147483807"/>
            <pc:sldLayoutMk cId="4239017944" sldId="2147483811"/>
          </pc:sldLayoutMkLst>
        </pc:sldLayoutChg>
        <pc:sldLayoutChg chg="del">
          <pc:chgData name="Andrew McCulloch" userId="2f2cb74d-2e0f-40b3-b9a8-c8d205a12428" providerId="ADAL" clId="{756C80A4-D2F5-4CC3-837D-F3E43547C81B}" dt="2020-02-20T04:37:12.281" v="14" actId="2696"/>
          <pc:sldLayoutMkLst>
            <pc:docMk/>
            <pc:sldMasterMk cId="3034886245" sldId="2147483807"/>
            <pc:sldLayoutMk cId="2900590679" sldId="2147483812"/>
          </pc:sldLayoutMkLst>
        </pc:sldLayoutChg>
        <pc:sldLayoutChg chg="del">
          <pc:chgData name="Andrew McCulloch" userId="2f2cb74d-2e0f-40b3-b9a8-c8d205a12428" providerId="ADAL" clId="{756C80A4-D2F5-4CC3-837D-F3E43547C81B}" dt="2020-02-20T04:37:12.440" v="15" actId="2696"/>
          <pc:sldLayoutMkLst>
            <pc:docMk/>
            <pc:sldMasterMk cId="3034886245" sldId="2147483807"/>
            <pc:sldLayoutMk cId="1682092069" sldId="2147483813"/>
          </pc:sldLayoutMkLst>
        </pc:sldLayoutChg>
        <pc:sldLayoutChg chg="del">
          <pc:chgData name="Andrew McCulloch" userId="2f2cb74d-2e0f-40b3-b9a8-c8d205a12428" providerId="ADAL" clId="{756C80A4-D2F5-4CC3-837D-F3E43547C81B}" dt="2020-02-20T04:37:12.620" v="16" actId="2696"/>
          <pc:sldLayoutMkLst>
            <pc:docMk/>
            <pc:sldMasterMk cId="3034886245" sldId="2147483807"/>
            <pc:sldLayoutMk cId="2174531042" sldId="2147483814"/>
          </pc:sldLayoutMkLst>
        </pc:sldLayoutChg>
        <pc:sldLayoutChg chg="del">
          <pc:chgData name="Andrew McCulloch" userId="2f2cb74d-2e0f-40b3-b9a8-c8d205a12428" providerId="ADAL" clId="{756C80A4-D2F5-4CC3-837D-F3E43547C81B}" dt="2020-02-20T04:37:12.793" v="17" actId="2696"/>
          <pc:sldLayoutMkLst>
            <pc:docMk/>
            <pc:sldMasterMk cId="3034886245" sldId="2147483807"/>
            <pc:sldLayoutMk cId="466050539" sldId="2147483815"/>
          </pc:sldLayoutMkLst>
        </pc:sldLayoutChg>
        <pc:sldLayoutChg chg="del">
          <pc:chgData name="Andrew McCulloch" userId="2f2cb74d-2e0f-40b3-b9a8-c8d205a12428" providerId="ADAL" clId="{756C80A4-D2F5-4CC3-837D-F3E43547C81B}" dt="2020-02-20T04:37:12.980" v="18" actId="2696"/>
          <pc:sldLayoutMkLst>
            <pc:docMk/>
            <pc:sldMasterMk cId="3034886245" sldId="2147483807"/>
            <pc:sldLayoutMk cId="1566336699" sldId="2147483816"/>
          </pc:sldLayoutMkLst>
        </pc:sldLayoutChg>
        <pc:sldLayoutChg chg="del">
          <pc:chgData name="Andrew McCulloch" userId="2f2cb74d-2e0f-40b3-b9a8-c8d205a12428" providerId="ADAL" clId="{756C80A4-D2F5-4CC3-837D-F3E43547C81B}" dt="2020-02-20T04:37:14.446" v="19" actId="2696"/>
          <pc:sldLayoutMkLst>
            <pc:docMk/>
            <pc:sldMasterMk cId="3034886245" sldId="2147483807"/>
            <pc:sldLayoutMk cId="107575991" sldId="2147483817"/>
          </pc:sldLayoutMkLst>
        </pc:sldLayoutChg>
        <pc:sldLayoutChg chg="del">
          <pc:chgData name="Andrew McCulloch" userId="2f2cb74d-2e0f-40b3-b9a8-c8d205a12428" providerId="ADAL" clId="{756C80A4-D2F5-4CC3-837D-F3E43547C81B}" dt="2020-02-20T04:37:07.465" v="9" actId="2696"/>
          <pc:sldLayoutMkLst>
            <pc:docMk/>
            <pc:sldMasterMk cId="3034886245" sldId="2147483807"/>
            <pc:sldLayoutMk cId="924831800" sldId="2147483818"/>
          </pc:sldLayoutMkLst>
        </pc:sldLayoutChg>
        <pc:sldLayoutChg chg="addSp">
          <pc:chgData name="Andrew McCulloch" userId="2f2cb74d-2e0f-40b3-b9a8-c8d205a12428" providerId="ADAL" clId="{756C80A4-D2F5-4CC3-837D-F3E43547C81B}" dt="2020-02-20T03:36:41.727" v="4"/>
          <pc:sldLayoutMkLst>
            <pc:docMk/>
            <pc:sldMasterMk cId="3034886245" sldId="2147483807"/>
            <pc:sldLayoutMk cId="1381413672" sldId="2147483819"/>
          </pc:sldLayoutMkLst>
          <pc:spChg chg="add">
            <ac:chgData name="Andrew McCulloch" userId="2f2cb74d-2e0f-40b3-b9a8-c8d205a12428" providerId="ADAL" clId="{756C80A4-D2F5-4CC3-837D-F3E43547C81B}" dt="2020-02-20T03:36:41.727" v="4"/>
            <ac:spMkLst>
              <pc:docMk/>
              <pc:sldMasterMk cId="3034886245" sldId="2147483807"/>
              <pc:sldLayoutMk cId="1381413672" sldId="2147483819"/>
              <ac:spMk id="11" creationId="{0C44B762-4AE8-4E40-BC34-C4B9D101AB49}"/>
            </ac:spMkLst>
          </pc:spChg>
          <pc:picChg chg="add">
            <ac:chgData name="Andrew McCulloch" userId="2f2cb74d-2e0f-40b3-b9a8-c8d205a12428" providerId="ADAL" clId="{756C80A4-D2F5-4CC3-837D-F3E43547C81B}" dt="2020-02-20T03:36:41.727" v="4"/>
            <ac:picMkLst>
              <pc:docMk/>
              <pc:sldMasterMk cId="3034886245" sldId="2147483807"/>
              <pc:sldLayoutMk cId="1381413672" sldId="2147483819"/>
              <ac:picMk id="8" creationId="{64133EBA-D13A-4344-B436-3E5E3025D69B}"/>
            </ac:picMkLst>
          </pc:picChg>
        </pc:sldLayoutChg>
        <pc:sldLayoutChg chg="addSp">
          <pc:chgData name="Andrew McCulloch" userId="2f2cb74d-2e0f-40b3-b9a8-c8d205a12428" providerId="ADAL" clId="{756C80A4-D2F5-4CC3-837D-F3E43547C81B}" dt="2020-02-20T03:36:41.727" v="4"/>
          <pc:sldLayoutMkLst>
            <pc:docMk/>
            <pc:sldMasterMk cId="3034886245" sldId="2147483807"/>
            <pc:sldLayoutMk cId="3391332141" sldId="2147483820"/>
          </pc:sldLayoutMkLst>
          <pc:spChg chg="add">
            <ac:chgData name="Andrew McCulloch" userId="2f2cb74d-2e0f-40b3-b9a8-c8d205a12428" providerId="ADAL" clId="{756C80A4-D2F5-4CC3-837D-F3E43547C81B}" dt="2020-02-20T03:36:41.727" v="4"/>
            <ac:spMkLst>
              <pc:docMk/>
              <pc:sldMasterMk cId="3034886245" sldId="2147483807"/>
              <pc:sldLayoutMk cId="3391332141" sldId="2147483820"/>
              <ac:spMk id="9" creationId="{90A188B3-C908-47BC-90D4-7A03701040F2}"/>
            </ac:spMkLst>
          </pc:spChg>
          <pc:spChg chg="add">
            <ac:chgData name="Andrew McCulloch" userId="2f2cb74d-2e0f-40b3-b9a8-c8d205a12428" providerId="ADAL" clId="{756C80A4-D2F5-4CC3-837D-F3E43547C81B}" dt="2020-02-20T03:36:41.727" v="4"/>
            <ac:spMkLst>
              <pc:docMk/>
              <pc:sldMasterMk cId="3034886245" sldId="2147483807"/>
              <pc:sldLayoutMk cId="3391332141" sldId="2147483820"/>
              <ac:spMk id="12" creationId="{C20F2867-7F70-4BDB-900E-ADD2A1F08131}"/>
            </ac:spMkLst>
          </pc:spChg>
          <pc:spChg chg="add">
            <ac:chgData name="Andrew McCulloch" userId="2f2cb74d-2e0f-40b3-b9a8-c8d205a12428" providerId="ADAL" clId="{756C80A4-D2F5-4CC3-837D-F3E43547C81B}" dt="2020-02-20T03:36:41.727" v="4"/>
            <ac:spMkLst>
              <pc:docMk/>
              <pc:sldMasterMk cId="3034886245" sldId="2147483807"/>
              <pc:sldLayoutMk cId="3391332141" sldId="2147483820"/>
              <ac:spMk id="14" creationId="{2ECCF217-B689-4649-ADF4-0BF7221E205A}"/>
            </ac:spMkLst>
          </pc:spChg>
          <pc:graphicFrameChg chg="add">
            <ac:chgData name="Andrew McCulloch" userId="2f2cb74d-2e0f-40b3-b9a8-c8d205a12428" providerId="ADAL" clId="{756C80A4-D2F5-4CC3-837D-F3E43547C81B}" dt="2020-02-20T03:36:41.727" v="4"/>
            <ac:graphicFrameMkLst>
              <pc:docMk/>
              <pc:sldMasterMk cId="3034886245" sldId="2147483807"/>
              <pc:sldLayoutMk cId="3391332141" sldId="2147483820"/>
              <ac:graphicFrameMk id="10" creationId="{141890B3-ACE5-42B5-B4B2-08684B0AF792}"/>
            </ac:graphicFrameMkLst>
          </pc:graphicFrameChg>
          <pc:picChg chg="add">
            <ac:chgData name="Andrew McCulloch" userId="2f2cb74d-2e0f-40b3-b9a8-c8d205a12428" providerId="ADAL" clId="{756C80A4-D2F5-4CC3-837D-F3E43547C81B}" dt="2020-02-20T03:36:41.727" v="4"/>
            <ac:picMkLst>
              <pc:docMk/>
              <pc:sldMasterMk cId="3034886245" sldId="2147483807"/>
              <pc:sldLayoutMk cId="3391332141" sldId="2147483820"/>
              <ac:picMk id="13" creationId="{A834EE01-AC94-454E-88BE-FBBAC6D12DF0}"/>
            </ac:picMkLst>
          </pc:picChg>
        </pc:sldLayoutChg>
        <pc:sldLayoutChg chg="addSp">
          <pc:chgData name="Andrew McCulloch" userId="2f2cb74d-2e0f-40b3-b9a8-c8d205a12428" providerId="ADAL" clId="{756C80A4-D2F5-4CC3-837D-F3E43547C81B}" dt="2020-02-20T03:36:41.727" v="4"/>
          <pc:sldLayoutMkLst>
            <pc:docMk/>
            <pc:sldMasterMk cId="3034886245" sldId="2147483807"/>
            <pc:sldLayoutMk cId="4165446591" sldId="2147483821"/>
          </pc:sldLayoutMkLst>
          <pc:spChg chg="add">
            <ac:chgData name="Andrew McCulloch" userId="2f2cb74d-2e0f-40b3-b9a8-c8d205a12428" providerId="ADAL" clId="{756C80A4-D2F5-4CC3-837D-F3E43547C81B}" dt="2020-02-20T03:36:41.727" v="4"/>
            <ac:spMkLst>
              <pc:docMk/>
              <pc:sldMasterMk cId="3034886245" sldId="2147483807"/>
              <pc:sldLayoutMk cId="4165446591" sldId="2147483821"/>
              <ac:spMk id="14" creationId="{16E4DAF9-3D19-48C4-AA4D-B937504A6CE7}"/>
            </ac:spMkLst>
          </pc:spChg>
          <pc:spChg chg="add">
            <ac:chgData name="Andrew McCulloch" userId="2f2cb74d-2e0f-40b3-b9a8-c8d205a12428" providerId="ADAL" clId="{756C80A4-D2F5-4CC3-837D-F3E43547C81B}" dt="2020-02-20T03:36:41.727" v="4"/>
            <ac:spMkLst>
              <pc:docMk/>
              <pc:sldMasterMk cId="3034886245" sldId="2147483807"/>
              <pc:sldLayoutMk cId="4165446591" sldId="2147483821"/>
              <ac:spMk id="15" creationId="{102B5BE3-094E-4326-A08B-F192580977C5}"/>
            </ac:spMkLst>
          </pc:spChg>
          <pc:spChg chg="add">
            <ac:chgData name="Andrew McCulloch" userId="2f2cb74d-2e0f-40b3-b9a8-c8d205a12428" providerId="ADAL" clId="{756C80A4-D2F5-4CC3-837D-F3E43547C81B}" dt="2020-02-20T03:36:41.727" v="4"/>
            <ac:spMkLst>
              <pc:docMk/>
              <pc:sldMasterMk cId="3034886245" sldId="2147483807"/>
              <pc:sldLayoutMk cId="4165446591" sldId="2147483821"/>
              <ac:spMk id="21" creationId="{CF6DB120-86F1-4DEE-8A38-E7F1E66D20A6}"/>
            </ac:spMkLst>
          </pc:spChg>
        </pc:sldLayoutChg>
        <pc:sldLayoutChg chg="addSp">
          <pc:chgData name="Andrew McCulloch" userId="2f2cb74d-2e0f-40b3-b9a8-c8d205a12428" providerId="ADAL" clId="{756C80A4-D2F5-4CC3-837D-F3E43547C81B}" dt="2020-02-20T03:36:41.727" v="4"/>
          <pc:sldLayoutMkLst>
            <pc:docMk/>
            <pc:sldMasterMk cId="3034886245" sldId="2147483807"/>
            <pc:sldLayoutMk cId="758839730" sldId="2147483822"/>
          </pc:sldLayoutMkLst>
          <pc:spChg chg="add">
            <ac:chgData name="Andrew McCulloch" userId="2f2cb74d-2e0f-40b3-b9a8-c8d205a12428" providerId="ADAL" clId="{756C80A4-D2F5-4CC3-837D-F3E43547C81B}" dt="2020-02-20T03:36:41.727" v="4"/>
            <ac:spMkLst>
              <pc:docMk/>
              <pc:sldMasterMk cId="3034886245" sldId="2147483807"/>
              <pc:sldLayoutMk cId="758839730" sldId="2147483822"/>
              <ac:spMk id="14" creationId="{440B69E0-A2F2-4990-8CC2-20140EC67F65}"/>
            </ac:spMkLst>
          </pc:spChg>
          <pc:spChg chg="add">
            <ac:chgData name="Andrew McCulloch" userId="2f2cb74d-2e0f-40b3-b9a8-c8d205a12428" providerId="ADAL" clId="{756C80A4-D2F5-4CC3-837D-F3E43547C81B}" dt="2020-02-20T03:36:41.727" v="4"/>
            <ac:spMkLst>
              <pc:docMk/>
              <pc:sldMasterMk cId="3034886245" sldId="2147483807"/>
              <pc:sldLayoutMk cId="758839730" sldId="2147483822"/>
              <ac:spMk id="17" creationId="{D03A6C57-743A-4B77-B306-5E8223ADB57A}"/>
            </ac:spMkLst>
          </pc:spChg>
          <pc:spChg chg="add">
            <ac:chgData name="Andrew McCulloch" userId="2f2cb74d-2e0f-40b3-b9a8-c8d205a12428" providerId="ADAL" clId="{756C80A4-D2F5-4CC3-837D-F3E43547C81B}" dt="2020-02-20T03:36:41.727" v="4"/>
            <ac:spMkLst>
              <pc:docMk/>
              <pc:sldMasterMk cId="3034886245" sldId="2147483807"/>
              <pc:sldLayoutMk cId="758839730" sldId="2147483822"/>
              <ac:spMk id="18" creationId="{CB976C03-7F18-4ABD-A47A-D576F375AFCA}"/>
            </ac:spMkLst>
          </pc:spChg>
          <pc:cxnChg chg="add">
            <ac:chgData name="Andrew McCulloch" userId="2f2cb74d-2e0f-40b3-b9a8-c8d205a12428" providerId="ADAL" clId="{756C80A4-D2F5-4CC3-837D-F3E43547C81B}" dt="2020-02-20T03:36:41.727" v="4"/>
            <ac:cxnSpMkLst>
              <pc:docMk/>
              <pc:sldMasterMk cId="3034886245" sldId="2147483807"/>
              <pc:sldLayoutMk cId="758839730" sldId="2147483822"/>
              <ac:cxnSpMk id="19" creationId="{D73591BC-E8D5-4105-9C7C-42ED16EB7434}"/>
            </ac:cxnSpMkLst>
          </pc:cxnChg>
        </pc:sldLayoutChg>
      </pc:sldMasterChg>
    </pc:docChg>
  </pc:docChgLst>
</pc:chgInfo>
</file>

<file path=ppt/drawings/_rels/vmlDrawing1.vml.rels><?xml version='1.0' encoding='UTF-8' standalone='yes'?>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'1.0' encoding='UTF-8' standalone='yes'?>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'1.0' encoding='UTF-8' standalone='yes'?>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2.xml"/><Relationship Id="rId7" Type="http://schemas.openxmlformats.org/officeDocument/2006/relationships/image" Target="../media/image3.tif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BCA9CB6-04EE-934B-B7C3-DC0A468D06C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39142"/>
          <a:stretch/>
        </p:blipFill>
        <p:spPr>
          <a:xfrm>
            <a:off x="7454389" y="253637"/>
            <a:ext cx="4737612" cy="632511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23143" y="4043609"/>
            <a:ext cx="7218313" cy="553998"/>
          </a:xfrm>
        </p:spPr>
        <p:txBody>
          <a:bodyPr anchor="t" anchorCtr="0"/>
          <a:lstStyle>
            <a:lvl1pPr algn="l">
              <a:defRPr sz="4000"/>
            </a:lvl1pPr>
          </a:lstStyle>
          <a:p>
            <a:r>
              <a:rPr lang="en-US"/>
              <a:t>&lt;Title&gt;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23143" y="5368914"/>
            <a:ext cx="7218313" cy="332399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&lt;Project name/Meeting&gt;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81C2A39-6EC8-9840-8CCA-1245AC4D85E8}"/>
              </a:ext>
            </a:extLst>
          </p:cNvPr>
          <p:cNvSpPr/>
          <p:nvPr/>
        </p:nvSpPr>
        <p:spPr>
          <a:xfrm>
            <a:off x="0" y="0"/>
            <a:ext cx="21883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EC3167C-BA46-C240-BAD8-7058F4414FA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3143" y="5847093"/>
            <a:ext cx="7218313" cy="480131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&lt;Date&gt;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4133EBA-D13A-4344-B436-3E5E3025D6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39142"/>
          <a:stretch/>
        </p:blipFill>
        <p:spPr>
          <a:xfrm>
            <a:off x="7454389" y="253637"/>
            <a:ext cx="4737612" cy="6325117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0C44B762-4AE8-4E40-BC34-C4B9D101AB49}"/>
              </a:ext>
            </a:extLst>
          </p:cNvPr>
          <p:cNvSpPr/>
          <p:nvPr userDrawn="1"/>
        </p:nvSpPr>
        <p:spPr>
          <a:xfrm>
            <a:off x="0" y="0"/>
            <a:ext cx="21883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1381413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766E6E9-9D6B-421A-AB50-3FE8FCEB1A9E}"/>
              </a:ext>
            </a:extLst>
          </p:cNvPr>
          <p:cNvSpPr/>
          <p:nvPr/>
        </p:nvSpPr>
        <p:spPr>
          <a:xfrm>
            <a:off x="1" y="3645027"/>
            <a:ext cx="12192001" cy="220136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662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>
            <a:extLst>
              <a:ext uri="{FF2B5EF4-FFF2-40B4-BE49-F238E27FC236}">
                <a16:creationId xmlns:a16="http://schemas.microsoft.com/office/drawing/2014/main" id="{45978C9A-9947-494F-986F-4FB6380FA16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23143" y="4468711"/>
            <a:ext cx="8819090" cy="553998"/>
          </a:xfrm>
        </p:spPr>
        <p:txBody>
          <a:bodyPr anchor="ctr" anchorCtr="0"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&lt;Section Title&gt;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66029C1-F0D3-E645-B84A-A9F0234D71F7}"/>
              </a:ext>
            </a:extLst>
          </p:cNvPr>
          <p:cNvSpPr/>
          <p:nvPr/>
        </p:nvSpPr>
        <p:spPr>
          <a:xfrm>
            <a:off x="0" y="0"/>
            <a:ext cx="21883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9AE7AFB-9D49-6D4F-94A7-340F2672535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357345" y="3719976"/>
            <a:ext cx="1834656" cy="205147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C2E2863-D43A-49A8-9C4C-8309AE351605}"/>
              </a:ext>
            </a:extLst>
          </p:cNvPr>
          <p:cNvSpPr/>
          <p:nvPr/>
        </p:nvSpPr>
        <p:spPr>
          <a:xfrm>
            <a:off x="12253798" y="0"/>
            <a:ext cx="2146225" cy="1696916"/>
          </a:xfrm>
          <a:prstGeom prst="rect">
            <a:avLst/>
          </a:prstGeom>
          <a:noFill/>
          <a:ln w="12700">
            <a:noFill/>
          </a:ln>
        </p:spPr>
        <p:txBody>
          <a:bodyPr rtlCol="0" anchor="ctr"/>
          <a:lstStyle/>
          <a:p>
            <a:r>
              <a:rPr lang="en-AU" sz="1200" b="1">
                <a:solidFill>
                  <a:schemeClr val="tx1"/>
                </a:solidFill>
              </a:rPr>
              <a:t>Guidance notes: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AU" sz="1200">
                <a:solidFill>
                  <a:schemeClr val="tx1"/>
                </a:solidFill>
              </a:rPr>
              <a:t>Use this page when creating a longer, more complex deck to show the movement between sections / topic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0A188B3-C908-47BC-90D4-7A03701040F2}"/>
              </a:ext>
            </a:extLst>
          </p:cNvPr>
          <p:cNvSpPr/>
          <p:nvPr userDrawn="1"/>
        </p:nvSpPr>
        <p:spPr>
          <a:xfrm>
            <a:off x="1" y="3645027"/>
            <a:ext cx="12192001" cy="220136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662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41890B3-ACE5-42B5-B4B2-08684B0AF7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41890B3-ACE5-42B5-B4B2-08684B0AF7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C20F2867-7F70-4BDB-900E-ADD2A1F08131}"/>
              </a:ext>
            </a:extLst>
          </p:cNvPr>
          <p:cNvSpPr/>
          <p:nvPr userDrawn="1"/>
        </p:nvSpPr>
        <p:spPr>
          <a:xfrm>
            <a:off x="0" y="0"/>
            <a:ext cx="21883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834EE01-AC94-454E-88BE-FBBAC6D12DF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57345" y="3719976"/>
            <a:ext cx="1834656" cy="2051471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2ECCF217-B689-4649-ADF4-0BF7221E205A}"/>
              </a:ext>
            </a:extLst>
          </p:cNvPr>
          <p:cNvSpPr/>
          <p:nvPr userDrawn="1"/>
        </p:nvSpPr>
        <p:spPr>
          <a:xfrm>
            <a:off x="12253798" y="0"/>
            <a:ext cx="2146225" cy="1696916"/>
          </a:xfrm>
          <a:prstGeom prst="rect">
            <a:avLst/>
          </a:prstGeom>
          <a:noFill/>
          <a:ln w="12700">
            <a:noFill/>
          </a:ln>
        </p:spPr>
        <p:txBody>
          <a:bodyPr rtlCol="0" anchor="ctr"/>
          <a:lstStyle/>
          <a:p>
            <a:r>
              <a:rPr lang="en-AU" sz="1200" b="1">
                <a:solidFill>
                  <a:schemeClr val="tx1"/>
                </a:solidFill>
              </a:rPr>
              <a:t>Guidance notes: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AU" sz="1200">
                <a:solidFill>
                  <a:schemeClr val="tx1"/>
                </a:solidFill>
              </a:rPr>
              <a:t>Use this page when creating a longer, more complex deck to show the movement between sections / topics</a:t>
            </a:r>
          </a:p>
        </p:txBody>
      </p:sp>
    </p:spTree>
    <p:extLst>
      <p:ext uri="{BB962C8B-B14F-4D97-AF65-F5344CB8AC3E}">
        <p14:creationId xmlns:p14="http://schemas.microsoft.com/office/powerpoint/2010/main" val="33913321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du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7B0E8EF6-54AF-1F4E-8AB6-52C4654FC549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304601" y="2518813"/>
            <a:ext cx="2928738" cy="781737"/>
          </a:xfrm>
          <a:solidFill>
            <a:srgbClr val="E42313"/>
          </a:solidFill>
          <a:ln>
            <a:noFill/>
          </a:ln>
        </p:spPr>
        <p:txBody>
          <a:bodyPr wrap="square" lIns="72000" tIns="72000" rIns="72000" bIns="7200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80000" indent="0"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</a:lstStyle>
          <a:p>
            <a:pPr marR="0" lvl="0" indent="0" fontAlgn="auto">
              <a:buClrTx/>
              <a:buSzTx/>
              <a:buNone/>
              <a:tabLst/>
            </a:pPr>
            <a:r>
              <a:rPr lang="en-US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olution: </a:t>
            </a:r>
            <a:r>
              <a:rPr lang="en-US" b="1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</a:t>
            </a:r>
            <a:endParaRPr lang="en-US" b="1" i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78E2079-C431-AD4F-A10D-74CA8DD1E00E}"/>
              </a:ext>
            </a:extLst>
          </p:cNvPr>
          <p:cNvSpPr/>
          <p:nvPr/>
        </p:nvSpPr>
        <p:spPr>
          <a:xfrm>
            <a:off x="0" y="0"/>
            <a:ext cx="21883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3662C559-6CFB-4643-9BCD-AC483B7931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62" y="-19163"/>
            <a:ext cx="11458491" cy="701731"/>
          </a:xfrm>
        </p:spPr>
        <p:txBody>
          <a:bodyPr wrap="square">
            <a:spAutoFit/>
          </a:bodyPr>
          <a:lstStyle/>
          <a:p>
            <a:r>
              <a:rPr lang="en-US"/>
              <a:t>&lt;Governing thought&gt;</a:t>
            </a:r>
          </a:p>
        </p:txBody>
      </p:sp>
      <p:sp>
        <p:nvSpPr>
          <p:cNvPr id="22" name="Slide Number Placeholder 3">
            <a:extLst>
              <a:ext uri="{FF2B5EF4-FFF2-40B4-BE49-F238E27FC236}">
                <a16:creationId xmlns:a16="http://schemas.microsoft.com/office/drawing/2014/main" id="{C1CCC39D-4A63-C14B-9F30-96872F51591C}"/>
              </a:ext>
            </a:extLst>
          </p:cNvPr>
          <p:cNvSpPr txBox="1">
            <a:spLocks/>
          </p:cNvSpPr>
          <p:nvPr/>
        </p:nvSpPr>
        <p:spPr>
          <a:xfrm>
            <a:off x="10625756" y="6503563"/>
            <a:ext cx="728044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5AB4CDE-B80B-4B4A-B869-13019FA5DD78}" type="slidenum">
              <a:rPr lang="en-US" sz="1200" smtClean="0">
                <a:solidFill>
                  <a:schemeClr val="bg1">
                    <a:lumMod val="50000"/>
                  </a:schemeClr>
                </a:solidFill>
              </a:rPr>
              <a:pPr/>
              <a:t>‹#›</a:t>
            </a:fld>
            <a:endParaRPr lang="en-US" sz="12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E9C213C6-22A9-3A46-8B14-E24FD2F6AE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93777" y="3394374"/>
            <a:ext cx="3070523" cy="738664"/>
          </a:xfrm>
          <a:ln>
            <a:noFill/>
          </a:ln>
        </p:spPr>
        <p:txBody>
          <a:bodyPr>
            <a:spAutoFit/>
          </a:bodyPr>
          <a:lstStyle>
            <a:lvl1pPr marL="180000" indent="-180000">
              <a:lnSpc>
                <a:spcPct val="100000"/>
              </a:lnSpc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&lt;Bullet point overview, key aspects of the reason the situation requires action&gt;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CEF9B05F-319F-984D-90EF-396EE26665D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304601" y="3394374"/>
            <a:ext cx="2928738" cy="1169551"/>
          </a:xfrm>
          <a:ln>
            <a:noFill/>
          </a:ln>
        </p:spPr>
        <p:txBody>
          <a:bodyPr>
            <a:spAutoFit/>
          </a:bodyPr>
          <a:lstStyle>
            <a:lvl1pPr marL="180000" indent="-180000">
              <a:lnSpc>
                <a:spcPct val="100000"/>
              </a:lnSpc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&lt;Bullet point overview of your recommendation for action, the actions required to solve a problem or capture an opportunity, addressing the complications&gt;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E7A0C3F0-9412-9341-AE76-6C144403A42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64009" y="3394373"/>
            <a:ext cx="3070523" cy="738664"/>
          </a:xfrm>
          <a:ln>
            <a:noFill/>
          </a:ln>
        </p:spPr>
        <p:txBody>
          <a:bodyPr>
            <a:spAutoFit/>
          </a:bodyPr>
          <a:lstStyle>
            <a:lvl1pPr marL="180000" indent="-180000">
              <a:lnSpc>
                <a:spcPct val="100000"/>
              </a:lnSpc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&lt;Bullet point overview, key aspects of situation, setting out the cause or a set of options or models&gt;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7903F670-52D2-DC4F-AE4B-01E9D85FFDD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064007" y="1221625"/>
            <a:ext cx="10169332" cy="930244"/>
          </a:xfrm>
          <a:solidFill>
            <a:srgbClr val="E42313"/>
          </a:solidFill>
          <a:ln>
            <a:noFill/>
          </a:ln>
        </p:spPr>
        <p:txBody>
          <a:bodyPr wrap="square" lIns="72000" tIns="72000" rIns="72000" bIns="7200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b="1" i="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80000" indent="0"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US"/>
              <a:t>Key question to be answered: xxx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CCDD185C-0E09-8F47-84C7-2C86D83CC18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4593779" y="2518812"/>
            <a:ext cx="3411692" cy="781737"/>
          </a:xfrm>
          <a:prstGeom prst="homePlate">
            <a:avLst/>
          </a:prstGeom>
          <a:solidFill>
            <a:srgbClr val="E42313"/>
          </a:solidFill>
          <a:ln>
            <a:noFill/>
          </a:ln>
        </p:spPr>
        <p:txBody>
          <a:bodyPr vert="horz" wrap="square" lIns="72000" tIns="72000" rIns="72000" bIns="72000" rtlCol="0" anchor="ctr">
            <a:noAutofit/>
          </a:bodyPr>
          <a:lstStyle>
            <a:lvl1pPr>
              <a:defRPr lang="en-US" b="1">
                <a:solidFill>
                  <a:schemeClr val="bg1"/>
                </a:solidFill>
              </a:defRPr>
            </a:lvl1pPr>
          </a:lstStyle>
          <a:p>
            <a:pPr marR="0" lvl="0" indent="0" fontAlgn="auto">
              <a:buClrTx/>
              <a:buSzTx/>
              <a:buNone/>
              <a:tabLst/>
            </a:pPr>
            <a:r>
              <a:rPr lang="en-US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lication: </a:t>
            </a:r>
            <a:r>
              <a:rPr lang="en-US" b="1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</a:t>
            </a:r>
            <a:endParaRPr lang="en-US" b="1" i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1E7BC117-5854-7C44-8616-749F924E9D9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064008" y="2518813"/>
            <a:ext cx="3411692" cy="781737"/>
          </a:xfrm>
          <a:prstGeom prst="homePlate">
            <a:avLst/>
          </a:prstGeom>
          <a:solidFill>
            <a:srgbClr val="E42313"/>
          </a:solidFill>
          <a:ln>
            <a:noFill/>
          </a:ln>
        </p:spPr>
        <p:txBody>
          <a:bodyPr vert="horz" wrap="square" lIns="72000" tIns="72000" rIns="72000" bIns="72000" rtlCol="0" anchor="ctr">
            <a:noAutofit/>
          </a:bodyPr>
          <a:lstStyle>
            <a:lvl1pPr>
              <a:defRPr lang="en-US" b="1" dirty="0">
                <a:solidFill>
                  <a:schemeClr val="bg1"/>
                </a:solidFill>
              </a:defRPr>
            </a:lvl1pPr>
          </a:lstStyle>
          <a:p>
            <a:pPr marR="0" lvl="0" indent="0" fontAlgn="auto">
              <a:buClrTx/>
              <a:buSzTx/>
              <a:buNone/>
              <a:tabLst/>
            </a:pPr>
            <a:r>
              <a:rPr lang="en-US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tuation: </a:t>
            </a:r>
            <a:r>
              <a:rPr lang="en-US" b="1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</a:t>
            </a:r>
            <a:endParaRPr lang="en-US" b="1" i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AAA90B9-B867-4F47-86D9-EC19D1C03F88}"/>
              </a:ext>
            </a:extLst>
          </p:cNvPr>
          <p:cNvSpPr/>
          <p:nvPr/>
        </p:nvSpPr>
        <p:spPr>
          <a:xfrm>
            <a:off x="12253798" y="-1"/>
            <a:ext cx="2146225" cy="6858001"/>
          </a:xfrm>
          <a:prstGeom prst="rect">
            <a:avLst/>
          </a:prstGeom>
          <a:noFill/>
          <a:ln w="12700">
            <a:noFill/>
          </a:ln>
        </p:spPr>
        <p:txBody>
          <a:bodyPr rot="0" spcFirstLastPara="0" vertOverflow="overflow" horzOverflow="overflow" vert="horz" wrap="square" lIns="72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ance notes:</a:t>
            </a: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 is essentially your Executive Summary page</a:t>
            </a: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Situation, Complication and Resolution red boxes, include the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e sentence synthesis of the content below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e.g.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tuation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AU" sz="1100" b="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website is the most important channel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lication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AU" sz="1100" b="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have too many sites and our user experience is poor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olution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AU" sz="1100" b="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need to redesign and optimise our website and website infrastructure</a:t>
            </a: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content below the red boxes should be the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points relating to the situation, complication, resolution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In general depending on the complexity of what is being presented, there should be a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in the presentation to support each point listed 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and if no page, it should be because the point is not at all contentious and is well known)</a:t>
            </a:r>
            <a:endParaRPr lang="en-AU" sz="1100" b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content on page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me font size</a:t>
            </a:r>
          </a:p>
        </p:txBody>
      </p:sp>
      <p:sp>
        <p:nvSpPr>
          <p:cNvPr id="17" name="Text Placeholder 22">
            <a:extLst>
              <a:ext uri="{FF2B5EF4-FFF2-40B4-BE49-F238E27FC236}">
                <a16:creationId xmlns:a16="http://schemas.microsoft.com/office/drawing/2014/main" id="{9910FB4E-3324-4970-831A-1C09AA45B49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33" y="6536005"/>
            <a:ext cx="9348384" cy="230832"/>
          </a:xfrm>
        </p:spPr>
        <p:txBody>
          <a:bodyPr wrap="square">
            <a:sp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SOURCE &lt;Reference, enabling reader to know exactly where to find information/how information was derived&gt;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6E4DAF9-3D19-48C4-AA4D-B937504A6CE7}"/>
              </a:ext>
            </a:extLst>
          </p:cNvPr>
          <p:cNvSpPr/>
          <p:nvPr userDrawn="1"/>
        </p:nvSpPr>
        <p:spPr>
          <a:xfrm>
            <a:off x="0" y="0"/>
            <a:ext cx="21883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102B5BE3-094E-4326-A08B-F192580977C5}"/>
              </a:ext>
            </a:extLst>
          </p:cNvPr>
          <p:cNvSpPr txBox="1">
            <a:spLocks/>
          </p:cNvSpPr>
          <p:nvPr userDrawn="1"/>
        </p:nvSpPr>
        <p:spPr>
          <a:xfrm>
            <a:off x="10625756" y="6503563"/>
            <a:ext cx="728044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5AB4CDE-B80B-4B4A-B869-13019FA5DD78}" type="slidenum">
              <a:rPr lang="en-US" sz="1200" smtClean="0">
                <a:solidFill>
                  <a:schemeClr val="bg1">
                    <a:lumMod val="50000"/>
                  </a:schemeClr>
                </a:solidFill>
              </a:rPr>
              <a:pPr/>
              <a:t>‹#›</a:t>
            </a:fld>
            <a:endParaRPr lang="en-US" sz="12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F6DB120-86F1-4DEE-8A38-E7F1E66D20A6}"/>
              </a:ext>
            </a:extLst>
          </p:cNvPr>
          <p:cNvSpPr/>
          <p:nvPr userDrawn="1"/>
        </p:nvSpPr>
        <p:spPr>
          <a:xfrm>
            <a:off x="12253798" y="-1"/>
            <a:ext cx="2146225" cy="6858001"/>
          </a:xfrm>
          <a:prstGeom prst="rect">
            <a:avLst/>
          </a:prstGeom>
          <a:noFill/>
          <a:ln w="12700">
            <a:noFill/>
          </a:ln>
        </p:spPr>
        <p:txBody>
          <a:bodyPr rot="0" spcFirstLastPara="0" vertOverflow="overflow" horzOverflow="overflow" vert="horz" wrap="square" lIns="72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ance notes:</a:t>
            </a: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 is essentially your Executive Summary page</a:t>
            </a: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Situation, Complication and Resolution red boxes, include the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e sentence synthesis of the content below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e.g.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tuation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AU" sz="1100" b="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website is the most important channel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lication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AU" sz="1100" b="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have too many sites and our user experience is poor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olution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AU" sz="1100" b="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need to redesign and optimise our website and website infrastructure</a:t>
            </a: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content below the red boxes should be the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points relating to the situation, complication, resolution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In general depending on the complexity of what is being presented, there should be a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in the presentation to support each point listed 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and if no page, it should be because the point is not at all contentious and is well known)</a:t>
            </a:r>
            <a:endParaRPr lang="en-AU" sz="1100" b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content on page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me font size</a:t>
            </a:r>
          </a:p>
        </p:txBody>
      </p:sp>
    </p:spTree>
    <p:extLst>
      <p:ext uri="{BB962C8B-B14F-4D97-AF65-F5344CB8AC3E}">
        <p14:creationId xmlns:p14="http://schemas.microsoft.com/office/powerpoint/2010/main" val="4165446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25">
          <p15:clr>
            <a:srgbClr val="FBAE40"/>
          </p15:clr>
        </p15:guide>
        <p15:guide id="2" orient="horz" pos="1888">
          <p15:clr>
            <a:srgbClr val="FBAE40"/>
          </p15:clr>
        </p15:guide>
        <p15:guide id="3" pos="2417">
          <p15:clr>
            <a:srgbClr val="FBAE40"/>
          </p15:clr>
        </p15:guide>
        <p15:guide id="4" orient="horz" pos="1003">
          <p15:clr>
            <a:srgbClr val="FBAE40"/>
          </p15:clr>
        </p15:guide>
        <p15:guide id="5" pos="432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024DBE2A-0DF4-7941-8FE0-5AA47E8E35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63" y="165503"/>
            <a:ext cx="11323189" cy="332399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&lt;Governing thought&gt;</a:t>
            </a:r>
          </a:p>
        </p:txBody>
      </p:sp>
      <p:sp>
        <p:nvSpPr>
          <p:cNvPr id="23" name="Text Placeholder 29">
            <a:extLst>
              <a:ext uri="{FF2B5EF4-FFF2-40B4-BE49-F238E27FC236}">
                <a16:creationId xmlns:a16="http://schemas.microsoft.com/office/drawing/2014/main" id="{1D6FDBD2-9BA3-DC48-8C64-39963303111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879057" y="2052352"/>
            <a:ext cx="2551041" cy="2629328"/>
          </a:xfrm>
          <a:solidFill>
            <a:srgbClr val="E42313"/>
          </a:solidFill>
        </p:spPr>
        <p:txBody>
          <a:bodyPr vert="horz" lIns="72000" tIns="72000" rIns="72000" bIns="72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120775" indent="-180975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</a:lstStyle>
          <a:p>
            <a:pPr lvl="0"/>
            <a:r>
              <a:rPr lang="en-US"/>
              <a:t>&lt;Overview of major, notable findings of analysis – maximum 3 bullets&gt;</a:t>
            </a:r>
          </a:p>
        </p:txBody>
      </p:sp>
      <p:sp>
        <p:nvSpPr>
          <p:cNvPr id="26" name="Text Placeholder 33">
            <a:extLst>
              <a:ext uri="{FF2B5EF4-FFF2-40B4-BE49-F238E27FC236}">
                <a16:creationId xmlns:a16="http://schemas.microsoft.com/office/drawing/2014/main" id="{63DEA2D6-07DE-D84F-B51A-5336F06A7ED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79057" y="1743375"/>
            <a:ext cx="2551041" cy="258532"/>
          </a:xfrm>
        </p:spPr>
        <p:txBody>
          <a:bodyPr wrap="square">
            <a:spAutoFit/>
          </a:bodyPr>
          <a:lstStyle>
            <a:lvl1pPr marL="0" indent="0">
              <a:buNone/>
              <a:defRPr sz="12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&lt;Key takeaways:&gt;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740A8979-D4A1-E442-BDD0-9E383818F46A}"/>
              </a:ext>
            </a:extLst>
          </p:cNvPr>
          <p:cNvSpPr/>
          <p:nvPr/>
        </p:nvSpPr>
        <p:spPr>
          <a:xfrm>
            <a:off x="0" y="0"/>
            <a:ext cx="21883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4" name="Slide Number Placeholder 3">
            <a:extLst>
              <a:ext uri="{FF2B5EF4-FFF2-40B4-BE49-F238E27FC236}">
                <a16:creationId xmlns:a16="http://schemas.microsoft.com/office/drawing/2014/main" id="{B4F3F40B-30CE-F84B-9B8E-AEB9C8F34EF3}"/>
              </a:ext>
            </a:extLst>
          </p:cNvPr>
          <p:cNvSpPr txBox="1">
            <a:spLocks/>
          </p:cNvSpPr>
          <p:nvPr/>
        </p:nvSpPr>
        <p:spPr>
          <a:xfrm>
            <a:off x="10625756" y="6503563"/>
            <a:ext cx="728044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5AB4CDE-B80B-4B4A-B869-13019FA5DD78}" type="slidenum">
              <a:rPr lang="en-US" sz="1200" smtClean="0">
                <a:solidFill>
                  <a:schemeClr val="bg1">
                    <a:lumMod val="50000"/>
                  </a:schemeClr>
                </a:solidFill>
              </a:rPr>
              <a:pPr/>
              <a:t>‹#›</a:t>
            </a:fld>
            <a:endParaRPr lang="en-US" sz="12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6" name="Text Placeholder 22">
            <a:extLst>
              <a:ext uri="{FF2B5EF4-FFF2-40B4-BE49-F238E27FC236}">
                <a16:creationId xmlns:a16="http://schemas.microsoft.com/office/drawing/2014/main" id="{7CA3B53C-E8D7-C445-B66F-4AEBEC2421F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33" y="6536005"/>
            <a:ext cx="9348384" cy="230832"/>
          </a:xfrm>
        </p:spPr>
        <p:txBody>
          <a:bodyPr wrap="square">
            <a:sp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SOURCE &lt;Reference, enabling reader to know exactly where to find information/how information was derived&gt;</a:t>
            </a:r>
          </a:p>
        </p:txBody>
      </p:sp>
      <p:sp>
        <p:nvSpPr>
          <p:cNvPr id="22" name="Text Placeholder 33">
            <a:extLst>
              <a:ext uri="{FF2B5EF4-FFF2-40B4-BE49-F238E27FC236}">
                <a16:creationId xmlns:a16="http://schemas.microsoft.com/office/drawing/2014/main" id="{D31814E3-4F68-FF4F-A1BE-81AA2D604EA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36063" y="1123946"/>
            <a:ext cx="11347775" cy="258532"/>
          </a:xfrm>
        </p:spPr>
        <p:txBody>
          <a:bodyPr wrap="square">
            <a:spAutoFit/>
          </a:bodyPr>
          <a:lstStyle>
            <a:lvl1pPr marL="0" indent="0">
              <a:buNone/>
              <a:defRPr sz="12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&lt;Title for chart/analysis, including units and date range&gt;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F11B0FC-7BBA-411C-8A12-8924E6921E5D}"/>
              </a:ext>
            </a:extLst>
          </p:cNvPr>
          <p:cNvSpPr/>
          <p:nvPr/>
        </p:nvSpPr>
        <p:spPr>
          <a:xfrm>
            <a:off x="12253798" y="-1"/>
            <a:ext cx="2146225" cy="6858001"/>
          </a:xfrm>
          <a:prstGeom prst="rect">
            <a:avLst/>
          </a:prstGeom>
          <a:noFill/>
          <a:ln w="12700">
            <a:noFill/>
          </a:ln>
        </p:spPr>
        <p:txBody>
          <a:bodyPr rot="0" spcFirstLastPara="0" vertOverflow="overflow" horzOverflow="overflow" vert="horz" wrap="square" lIns="72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AU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ance notes:</a:t>
            </a: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general, aim for </a:t>
            </a:r>
            <a:r>
              <a:rPr lang="en-AU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e chart / concept per page</a:t>
            </a:r>
            <a:endParaRPr lang="en-AU" sz="1200" b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ere you have completed additional analysis to understand a chart better, include the </a:t>
            </a:r>
            <a:r>
              <a:rPr lang="en-AU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nthesis of that analysis in the takeaways box </a:t>
            </a:r>
            <a:r>
              <a:rPr lang="en-AU"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.e. ‘The steep decline in enrolments in 20xx is driven by …) </a:t>
            </a: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im to include enough content on the page and supporting the chart so that an </a:t>
            </a:r>
            <a:r>
              <a:rPr lang="en-AU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ependent reader would have no more outstanding questions </a:t>
            </a:r>
            <a:r>
              <a:rPr lang="en-AU"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trend over time, reasons for outliers in data, clear legend etc)</a:t>
            </a: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content on page (outside of lead and subtitle) </a:t>
            </a:r>
            <a:r>
              <a:rPr lang="en-AU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me font size</a:t>
            </a:r>
          </a:p>
          <a:p>
            <a:pPr marR="0" lvl="0" indent="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lang="en-AU" sz="1200" b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E4D4C9D-76DC-4413-B8EC-74AFFF93B701}"/>
              </a:ext>
            </a:extLst>
          </p:cNvPr>
          <p:cNvCxnSpPr/>
          <p:nvPr/>
        </p:nvCxnSpPr>
        <p:spPr>
          <a:xfrm>
            <a:off x="334842" y="1322512"/>
            <a:ext cx="11347775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Chart Placeholder 25">
            <a:extLst>
              <a:ext uri="{FF2B5EF4-FFF2-40B4-BE49-F238E27FC236}">
                <a16:creationId xmlns:a16="http://schemas.microsoft.com/office/drawing/2014/main" id="{29065E15-4564-48D5-BCED-9A1C4D5754E5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336063" y="1368849"/>
            <a:ext cx="8213670" cy="4541111"/>
          </a:xfrm>
          <a:ln w="12700">
            <a:noFill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40B69E0-A2F2-4990-8CC2-20140EC67F65}"/>
              </a:ext>
            </a:extLst>
          </p:cNvPr>
          <p:cNvSpPr/>
          <p:nvPr userDrawn="1"/>
        </p:nvSpPr>
        <p:spPr>
          <a:xfrm>
            <a:off x="0" y="0"/>
            <a:ext cx="21883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lide Number Placeholder 3">
            <a:extLst>
              <a:ext uri="{FF2B5EF4-FFF2-40B4-BE49-F238E27FC236}">
                <a16:creationId xmlns:a16="http://schemas.microsoft.com/office/drawing/2014/main" id="{D03A6C57-743A-4B77-B306-5E8223ADB57A}"/>
              </a:ext>
            </a:extLst>
          </p:cNvPr>
          <p:cNvSpPr txBox="1">
            <a:spLocks/>
          </p:cNvSpPr>
          <p:nvPr userDrawn="1"/>
        </p:nvSpPr>
        <p:spPr>
          <a:xfrm>
            <a:off x="10625756" y="6503563"/>
            <a:ext cx="728044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5AB4CDE-B80B-4B4A-B869-13019FA5DD78}" type="slidenum">
              <a:rPr lang="en-US" sz="1200" smtClean="0">
                <a:solidFill>
                  <a:schemeClr val="bg1">
                    <a:lumMod val="50000"/>
                  </a:schemeClr>
                </a:solidFill>
              </a:rPr>
              <a:pPr/>
              <a:t>‹#›</a:t>
            </a:fld>
            <a:endParaRPr lang="en-US" sz="12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B976C03-7F18-4ABD-A47A-D576F375AFCA}"/>
              </a:ext>
            </a:extLst>
          </p:cNvPr>
          <p:cNvSpPr/>
          <p:nvPr userDrawn="1"/>
        </p:nvSpPr>
        <p:spPr>
          <a:xfrm>
            <a:off x="12253798" y="-1"/>
            <a:ext cx="2146225" cy="6858001"/>
          </a:xfrm>
          <a:prstGeom prst="rect">
            <a:avLst/>
          </a:prstGeom>
          <a:noFill/>
          <a:ln w="12700">
            <a:noFill/>
          </a:ln>
        </p:spPr>
        <p:txBody>
          <a:bodyPr rot="0" spcFirstLastPara="0" vertOverflow="overflow" horzOverflow="overflow" vert="horz" wrap="square" lIns="72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AU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ance notes:</a:t>
            </a: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general, aim for </a:t>
            </a:r>
            <a:r>
              <a:rPr lang="en-AU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e chart / concept per page</a:t>
            </a:r>
            <a:endParaRPr lang="en-AU" sz="1200" b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ere you have completed additional analysis to understand a chart better, include the </a:t>
            </a:r>
            <a:r>
              <a:rPr lang="en-AU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nthesis of that analysis in the takeaways box </a:t>
            </a:r>
            <a:r>
              <a:rPr lang="en-AU"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.e. ‘The steep decline in enrolments in 20xx is driven by …) </a:t>
            </a: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im to include enough content on the page and supporting the chart so that an </a:t>
            </a:r>
            <a:r>
              <a:rPr lang="en-AU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ependent reader would have no more outstanding questions </a:t>
            </a:r>
            <a:r>
              <a:rPr lang="en-AU"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trend over time, reasons for outliers in data, clear legend etc)</a:t>
            </a: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content on page (outside of lead and subtitle) </a:t>
            </a:r>
            <a:r>
              <a:rPr lang="en-AU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me font size</a:t>
            </a:r>
          </a:p>
          <a:p>
            <a:pPr marR="0" lvl="0" indent="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lang="en-AU" sz="1200" b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73591BC-E8D5-4105-9C7C-42ED16EB7434}"/>
              </a:ext>
            </a:extLst>
          </p:cNvPr>
          <p:cNvCxnSpPr/>
          <p:nvPr userDrawn="1"/>
        </p:nvCxnSpPr>
        <p:spPr>
          <a:xfrm>
            <a:off x="334842" y="1322512"/>
            <a:ext cx="11347775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58839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'1.0' encoding='UTF-8' standalone='yes'?>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C090152-EA6E-4745-A05C-F5F5219752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7E3DCF-CAC5-4011-A775-B33758C604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9022D1-6427-4EDA-88C2-B29520F8750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5B3E1BB-BE49-44F3-898F-C5160D924B10}" type="datetimeFigureOut">
              <a:rPr lang="en-AU" smtClean="0"/>
              <a:t>20/02/2020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D6D1BF-FFF8-4921-B5F9-6C186DD1D7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60E67C-9EE3-4586-87B5-E1B330FA23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6461B7D-A860-46E6-B68D-3F23F6A4FBF6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0348862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21" r:id="rId3"/>
    <p:sldLayoutId id="2147483822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0069C4-D313-7B4B-A253-BE07427217A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EA37228-77DF-1644-B069-F70CD6A1791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C7A9DE8-E0C0-C447-8251-ABB08B3922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1147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9F09D9-EBBF-0749-92D9-33C694CE5DE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7045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5E0B3C6-5A9F-4A6B-8E18-7F354F2B3968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7890488" y="2518813"/>
            <a:ext cx="2379600" cy="781737"/>
          </a:xfrm>
        </p:spPr>
        <p:txBody>
          <a:bodyPr/>
          <a:lstStyle/>
          <a:p>
            <a:endParaRPr lang="en-AU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2C6C84C-78EA-4851-8AF9-54E159EA62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BF54995-28D5-4B31-B044-E30CEEC28A3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593777" y="3394374"/>
            <a:ext cx="3070523" cy="307777"/>
          </a:xfrm>
        </p:spPr>
        <p:txBody>
          <a:bodyPr/>
          <a:lstStyle/>
          <a:p>
            <a:endParaRPr lang="en-AU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0920631-BEE8-427F-BB38-21FF1CF25DB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304601" y="3394374"/>
            <a:ext cx="2928738" cy="307777"/>
          </a:xfrm>
        </p:spPr>
        <p:txBody>
          <a:bodyPr/>
          <a:lstStyle/>
          <a:p>
            <a:endParaRPr lang="en-AU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B1C931F-4AB6-4C86-8407-FC44F4AD214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064009" y="3394373"/>
            <a:ext cx="3070523" cy="307777"/>
          </a:xfrm>
        </p:spPr>
        <p:txBody>
          <a:bodyPr/>
          <a:lstStyle/>
          <a:p>
            <a:endParaRPr lang="en-AU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86F1C9-6E65-4DAA-B2FD-6813B93065C2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1C9BA44-5C8F-4DA9-A108-1C03BBA0E2AD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/>
        <p:txBody>
          <a:bodyPr/>
          <a:lstStyle/>
          <a:p>
            <a:pPr indent="0">
              <a:buNone/>
            </a:pPr>
            <a:endParaRPr lang="en-AU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7EDE414-23AA-4532-A3FC-8492B104AB64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/>
        <p:txBody>
          <a:bodyPr/>
          <a:lstStyle/>
          <a:p>
            <a:pPr indent="0">
              <a:buNone/>
            </a:pPr>
            <a:endParaRPr lang="en-AU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CEB83AB-AE26-4C74-8854-D493910C2F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69591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B6FD9E-B8D7-4B04-AED1-5845618268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en-AU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CBFC556-399C-4A96-B514-D1661552130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96990C7-FE93-4641-B2D4-7FFF3896FA9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2310DB3-AF7C-4385-AAF5-46B464AB22A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08DC6EC-6B72-4D9E-93C2-B2FDD869ACE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9246017C-5549-44EB-843D-10D765CEA9A6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486959" y="1746907"/>
            <a:ext cx="6673607" cy="4541111"/>
          </a:xfrm>
        </p:spPr>
      </p:sp>
    </p:spTree>
    <p:extLst>
      <p:ext uri="{BB962C8B-B14F-4D97-AF65-F5344CB8AC3E}">
        <p14:creationId xmlns:p14="http://schemas.microsoft.com/office/powerpoint/2010/main" val="2803462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t>This is the title tex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t>This is the sub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0" sz="quarter"/>
          </p:nvPr>
        </p:nvSpPr>
        <p:spPr/>
        <p:txBody>
          <a:bodyPr/>
          <a:lstStyle/>
          <a:p>
            <a:r>
              <a:t>20/02/2020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t>This is the section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ext Placeholder 1"/>
          <p:cNvSpPr>
            <a:spLocks noGrp="1"/>
          </p:cNvSpPr>
          <p:nvPr>
            <p:ph type="body" idx="52" sz="quarter"/>
          </p:nvPr>
        </p:nvSpPr>
        <p:spPr/>
        <p:txBody>
          <a:bodyPr/>
          <a:lstStyle/>
          <a:p>
            <a:r>
              <a:t>This is a resolution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This is the story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28" sz="quarter"/>
          </p:nvPr>
        </p:nvSpPr>
        <p:spPr/>
        <p:txBody>
          <a:bodyPr/>
          <a:lstStyle/>
          <a:p>
            <a:r>
              <a:t>This is a complication overview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29" sz="quarter"/>
          </p:nvPr>
        </p:nvSpPr>
        <p:spPr/>
        <p:txBody>
          <a:bodyPr/>
          <a:lstStyle/>
          <a:p>
            <a:r>
              <a:t>This is a resolution overview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idx="30" sz="quarter"/>
          </p:nvPr>
        </p:nvSpPr>
        <p:spPr/>
        <p:txBody>
          <a:bodyPr/>
          <a:lstStyle/>
          <a:p>
            <a:r>
              <a:t>This is a situation overview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idx="51" sz="quarter"/>
          </p:nvPr>
        </p:nvSpPr>
        <p:spPr/>
        <p:txBody>
          <a:bodyPr/>
          <a:lstStyle/>
          <a:p>
            <a:r>
              <a:t>This is a questio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idx="53" sz="quarter"/>
          </p:nvPr>
        </p:nvSpPr>
        <p:spPr/>
        <p:txBody>
          <a:bodyPr/>
          <a:lstStyle/>
          <a:p>
            <a:r>
              <a:t>This is a complication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idx="54" sz="quarter"/>
          </p:nvPr>
        </p:nvSpPr>
        <p:spPr/>
        <p:txBody>
          <a:bodyPr/>
          <a:lstStyle/>
          <a:p>
            <a:r>
              <a:t>This is a situation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idx="17" sz="quarter"/>
          </p:nvPr>
        </p:nvSpPr>
        <p:spPr/>
        <p:txBody>
          <a:bodyPr/>
          <a:lstStyle/>
          <a:p>
            <a:r>
              <a:t>This is a source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This is a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9" sz="quarter"/>
          </p:nvPr>
        </p:nvSpPr>
        <p:spPr/>
        <p:txBody>
          <a:bodyPr/>
          <a:lstStyle/>
          <a:p>
            <a:r>
              <a:t>This is the overview tex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20" sz="quarter"/>
          </p:nvPr>
        </p:nvSpPr>
        <p:spPr/>
        <p:txBody>
          <a:bodyPr/>
          <a:lstStyle/>
          <a:p>
            <a:r>
              <a:t>This is the takeaway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7" sz="quarter"/>
          </p:nvPr>
        </p:nvSpPr>
        <p:spPr/>
        <p:txBody>
          <a:bodyPr/>
          <a:lstStyle/>
          <a:p>
            <a:r>
              <a:t>This is the sourc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idx="23" sz="quarter"/>
          </p:nvPr>
        </p:nvSpPr>
        <p:spPr/>
        <p:txBody>
          <a:bodyPr/>
          <a:lstStyle/>
          <a:p>
            <a:r>
              <a:t>This is a chart tit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idx="18" sz="quarter"/>
          </p:nvPr>
        </p:nvSpPr>
        <p:spPr/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UTA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AS" id="{DE3BA702-8CBA-45A5-9D40-029FFCF60D5F}" vid="{153AF7DE-E418-436C-851A-0E1F930F05BE}"/>
    </a:ext>
  </a:extLst>
</a:theme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B8434A5327226488DA37AD10D878799" ma:contentTypeVersion="4" ma:contentTypeDescription="Create a new document." ma:contentTypeScope="" ma:versionID="d747a845658080980e5a95f95956b835">
  <xsd:schema xmlns:xsd="http://www.w3.org/2001/XMLSchema" xmlns:xs="http://www.w3.org/2001/XMLSchema" xmlns:p="http://schemas.microsoft.com/office/2006/metadata/properties" xmlns:ns3="d34306c7-76d2-4215-bc04-41918b0e25cf" targetNamespace="http://schemas.microsoft.com/office/2006/metadata/properties" ma:root="true" ma:fieldsID="606180f674bb4bd7ac0fa559a8e3ef2b" ns3:_="">
    <xsd:import namespace="d34306c7-76d2-4215-bc04-41918b0e25cf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34306c7-76d2-4215-bc04-41918b0e25c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6E2CA10-8BE7-4D2F-AB83-B113286F3F0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2F1E70C-38D9-4378-BDD9-6F1620A80CD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34306c7-76d2-4215-bc04-41918b0e25c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CAAB4E4-671B-44CF-826D-703E467804DC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d34306c7-76d2-4215-bc04-41918b0e25cf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TAS</Template>
  <TotalTime>26</TotalTime>
  <Words>0</Words>
  <Application>Microsoft Office PowerPoint</Application>
  <PresentationFormat>Widescreen</PresentationFormat>
  <Paragraphs>0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9" baseType="lpstr">
      <vt:lpstr>Arial</vt:lpstr>
      <vt:lpstr>Calibri</vt:lpstr>
      <vt:lpstr>Calibri Light</vt:lpstr>
      <vt:lpstr>UTAS</vt:lpstr>
      <vt:lpstr>think-cell Slide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drew McCulloch</dc:creator>
  <cp:lastModifiedBy>Andrew McCulloch</cp:lastModifiedBy>
  <cp:revision>2</cp:revision>
  <dcterms:created xsi:type="dcterms:W3CDTF">2020-02-20T03:33:16Z</dcterms:created>
  <dcterms:modified xsi:type="dcterms:W3CDTF">2020-02-20T04:37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B8434A5327226488DA37AD10D878799</vt:lpwstr>
  </property>
</Properties>
</file>